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10" r:id="rId4"/>
  </p:sldMasterIdLst>
  <p:notesMasterIdLst>
    <p:notesMasterId r:id="rId9"/>
  </p:notesMasterIdLst>
  <p:handoutMasterIdLst>
    <p:handoutMasterId r:id="rId10"/>
  </p:handoutMasterIdLst>
  <p:sldIdLst>
    <p:sldId id="2147483592" r:id="rId5"/>
    <p:sldId id="2147483593" r:id="rId6"/>
    <p:sldId id="2147483594" r:id="rId7"/>
    <p:sldId id="2147483595" r:id="rId8"/>
  </p:sldIdLst>
  <p:sldSz cx="12192000" cy="6858000"/>
  <p:notesSz cx="9929813" cy="6799263"/>
  <p:custDataLst>
    <p:tags r:id="rId11"/>
  </p:custDataLst>
  <p:defaultTextStyle>
    <a:defPPr>
      <a:defRPr lang="en-GB"/>
    </a:defPPr>
    <a:lvl1pPr algn="ctr" rtl="0" eaLnBrk="0" fontAlgn="base" hangingPunct="0">
      <a:spcBef>
        <a:spcPct val="50000"/>
      </a:spcBef>
      <a:spcAft>
        <a:spcPct val="0"/>
      </a:spcAft>
      <a:buClr>
        <a:schemeClr val="accent1"/>
      </a:buClr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buClr>
        <a:schemeClr val="accent1"/>
      </a:buClr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112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DA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02" autoAdjust="0"/>
    <p:restoredTop sz="94453" autoAdjust="0"/>
  </p:normalViewPr>
  <p:slideViewPr>
    <p:cSldViewPr>
      <p:cViewPr varScale="1">
        <p:scale>
          <a:sx n="99" d="100"/>
          <a:sy n="99" d="100"/>
        </p:scale>
        <p:origin x="64" y="396"/>
      </p:cViewPr>
      <p:guideLst>
        <p:guide pos="4112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72" d="100"/>
          <a:sy n="72" d="100"/>
        </p:scale>
        <p:origin x="2242" y="4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ah Wicharz" userId="996c48a0-0d54-46a8-ab2e-9cc84d768370" providerId="ADAL" clId="{35FA33A1-5A83-4383-A87C-BAE5E512171D}"/>
    <pc:docChg chg="modSld">
      <pc:chgData name="Hannah Wicharz" userId="996c48a0-0d54-46a8-ab2e-9cc84d768370" providerId="ADAL" clId="{35FA33A1-5A83-4383-A87C-BAE5E512171D}" dt="2026-02-11T12:27:18.851" v="37" actId="20577"/>
      <pc:docMkLst>
        <pc:docMk/>
      </pc:docMkLst>
      <pc:sldChg chg="modSp mod">
        <pc:chgData name="Hannah Wicharz" userId="996c48a0-0d54-46a8-ab2e-9cc84d768370" providerId="ADAL" clId="{35FA33A1-5A83-4383-A87C-BAE5E512171D}" dt="2026-02-11T12:27:00.659" v="13" actId="20577"/>
        <pc:sldMkLst>
          <pc:docMk/>
          <pc:sldMk cId="541039021" sldId="2147483593"/>
        </pc:sldMkLst>
        <pc:spChg chg="mod">
          <ac:chgData name="Hannah Wicharz" userId="996c48a0-0d54-46a8-ab2e-9cc84d768370" providerId="ADAL" clId="{35FA33A1-5A83-4383-A87C-BAE5E512171D}" dt="2026-02-11T12:27:00.659" v="13" actId="20577"/>
          <ac:spMkLst>
            <pc:docMk/>
            <pc:sldMk cId="541039021" sldId="2147483593"/>
            <ac:spMk id="13" creationId="{E9CC47E9-8357-35CD-2430-557DB1201196}"/>
          </ac:spMkLst>
        </pc:spChg>
      </pc:sldChg>
      <pc:sldChg chg="modSp mod">
        <pc:chgData name="Hannah Wicharz" userId="996c48a0-0d54-46a8-ab2e-9cc84d768370" providerId="ADAL" clId="{35FA33A1-5A83-4383-A87C-BAE5E512171D}" dt="2026-02-11T12:27:18.851" v="37" actId="20577"/>
        <pc:sldMkLst>
          <pc:docMk/>
          <pc:sldMk cId="805521599" sldId="2147483594"/>
        </pc:sldMkLst>
        <pc:spChg chg="mod">
          <ac:chgData name="Hannah Wicharz" userId="996c48a0-0d54-46a8-ab2e-9cc84d768370" providerId="ADAL" clId="{35FA33A1-5A83-4383-A87C-BAE5E512171D}" dt="2026-02-11T12:27:18.851" v="37" actId="20577"/>
          <ac:spMkLst>
            <pc:docMk/>
            <pc:sldMk cId="805521599" sldId="2147483594"/>
            <ac:spMk id="22" creationId="{9E3546B6-8E9F-D064-17C7-D39DA3D5EC9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D298965-232D-7F00-03C0-19CD3A6EF5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713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4914ED-26B6-BEF5-2376-AF828BB793D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4513" y="0"/>
            <a:ext cx="4303712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681813-E28B-4E4C-8937-957D78C69CB2}" type="datetimeFigureOut">
              <a:rPr lang="de-DE" smtClean="0"/>
              <a:t>11.02.2026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30A81F-AB59-76FD-2D89-86A6888A06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57950"/>
            <a:ext cx="4303713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E94939B-BAC7-816B-796A-EE592318B9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4513" y="6457950"/>
            <a:ext cx="4303712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3F123-0C7F-4CA1-A469-B675C6ED9AA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572783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141" userDrawn="1">
          <p15:clr>
            <a:srgbClr val="F26B43"/>
          </p15:clr>
        </p15:guide>
        <p15:guide id="2" pos="312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713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4513" y="0"/>
            <a:ext cx="4303712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ACCF99-8ECA-44FA-99D0-916373CC834E}" type="datetimeFigureOut">
              <a:rPr lang="en-GB" smtClean="0"/>
              <a:t>11/02/202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9875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775" y="3271838"/>
            <a:ext cx="7943850" cy="2678112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 indent="0" defTabSz="1125444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412072" lvl="1" indent="-279145" defTabSz="1125444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82000"/>
              <a:buFont typeface="Wingdings 3" panose="05040102010807070707" pitchFamily="18" charset="2"/>
              <a:buChar char=""/>
            </a:pPr>
            <a:r>
              <a:rPr lang="en-US"/>
              <a:t>Second level</a:t>
            </a:r>
          </a:p>
          <a:p>
            <a:pPr marL="824144" lvl="2" indent="-279145" defTabSz="1125444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95000"/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  <a:p>
            <a:pPr marL="1236216" lvl="3" indent="-279145" defTabSz="1125444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77000"/>
              <a:buFont typeface="Wingdings 3" panose="05040102010807070707" pitchFamily="18" charset="2"/>
              <a:buChar char=""/>
            </a:pPr>
            <a:r>
              <a:rPr lang="en-US"/>
              <a:t>Fourth level</a:t>
            </a:r>
          </a:p>
          <a:p>
            <a:pPr marL="1648287" lvl="4" indent="-279145" defTabSz="1125444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-"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7950"/>
            <a:ext cx="4303713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4513" y="6457950"/>
            <a:ext cx="4303712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A4D23F-A05D-4B8C-9B28-598B057408FE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9602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lang="en-US"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lang="en-US"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lang="en-US"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lang="en-GB" sz="1200" kern="1200" baseline="0">
        <a:solidFill>
          <a:schemeClr val="tx1"/>
        </a:solidFill>
        <a:latin typeface="+mn-lt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41" userDrawn="1">
          <p15:clr>
            <a:srgbClr val="F26B43"/>
          </p15:clr>
        </p15:guide>
        <p15:guide id="2" pos="312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4D23F-A05D-4B8C-9B28-598B057408FE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1704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4D23F-A05D-4B8C-9B28-598B057408FE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4322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2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7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2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20.svg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B809BEF1-28A8-4EAD-8653-E8D8B3947BD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500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B809BEF1-28A8-4EAD-8653-E8D8B3947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A61309-813F-4E22-BBAA-611FDEC0744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3200" b="1" i="0" baseline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20E4560F-8410-FD7E-ACE9-2ECF132D14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87692" y="5963138"/>
            <a:ext cx="2088897" cy="565200"/>
          </a:xfrm>
          <a:prstGeom prst="rect">
            <a:avLst/>
          </a:prstGeom>
        </p:spPr>
      </p:pic>
      <p:pic>
        <p:nvPicPr>
          <p:cNvPr id="12" name="Picture 11" descr="A picture containing green, room, sink, tub&#10;&#10;Description automatically generated">
            <a:extLst>
              <a:ext uri="{FF2B5EF4-FFF2-40B4-BE49-F238E27FC236}">
                <a16:creationId xmlns:a16="http://schemas.microsoft.com/office/drawing/2014/main" id="{B0DBA0FB-1067-479B-B3D5-12AD1AEF88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2193200" cy="5605311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42C24DAA-2037-4CCF-B3F7-BBE9F6B59B3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alphaModFix amt="7000"/>
          </a:blip>
          <a:srcRect l="27105" t="9200" b="8933"/>
          <a:stretch/>
        </p:blipFill>
        <p:spPr>
          <a:xfrm>
            <a:off x="0" y="0"/>
            <a:ext cx="4802514" cy="5614472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3A2FCAAE-AA93-4F68-BE69-45208C4C56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127999" y="2133000"/>
            <a:ext cx="8388000" cy="612000"/>
          </a:xfrm>
        </p:spPr>
        <p:txBody>
          <a:bodyPr wrap="square" lIns="0" tIns="0" rIns="0" bIns="0" anchor="b" anchorCtr="0">
            <a:noAutofit/>
          </a:bodyPr>
          <a:lstStyle>
            <a:lvl1pPr marL="0" marR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/>
              <a:t>Title of the presentation</a:t>
            </a:r>
            <a:endParaRPr lang="de-DE" noProof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BD9C87A-8218-4CF1-880F-69C7BF0854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127999" y="2709000"/>
            <a:ext cx="8388000" cy="374906"/>
          </a:xfrm>
        </p:spPr>
        <p:txBody>
          <a:bodyPr lIns="0" tIns="0" rIns="0" bIns="0">
            <a:noAutofit/>
          </a:bodyPr>
          <a:lstStyle>
            <a:lvl1pPr marL="0" marR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kumimoji="0" lang="en-US" sz="2200" b="0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r>
              <a:rPr lang="de-DE"/>
              <a:t>Subtitle of the presentation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D1A6765-467D-4A51-AF2A-F303F6876D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127999" y="3429000"/>
            <a:ext cx="8388000" cy="288000"/>
          </a:xfrm>
        </p:spPr>
        <p:txBody>
          <a:bodyPr wrap="square" lIns="0" tIns="0" rIns="0" bIns="0">
            <a:noAutofit/>
          </a:bodyPr>
          <a:lstStyle>
            <a:lvl1pPr>
              <a:defRPr kumimoji="0" lang="en-GB" sz="1600" b="0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de-DE"/>
              <a:t>Contact | City | xx. Month 20xx xx.</a:t>
            </a:r>
          </a:p>
        </p:txBody>
      </p:sp>
    </p:spTree>
    <p:extLst>
      <p:ext uri="{BB962C8B-B14F-4D97-AF65-F5344CB8AC3E}">
        <p14:creationId xmlns:p14="http://schemas.microsoft.com/office/powerpoint/2010/main" val="41474228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(50/50) fill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35AF53E-033D-40FB-E8F7-366520B17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3609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5AF53E-033D-40FB-E8F7-366520B17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Kapitel">
            <a:extLst>
              <a:ext uri="{FF2B5EF4-FFF2-40B4-BE49-F238E27FC236}">
                <a16:creationId xmlns:a16="http://schemas.microsoft.com/office/drawing/2014/main" id="{A1555248-E9BC-43AC-8742-E57D699F2F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5" name="Inhalt links">
            <a:extLst>
              <a:ext uri="{FF2B5EF4-FFF2-40B4-BE49-F238E27FC236}">
                <a16:creationId xmlns:a16="http://schemas.microsoft.com/office/drawing/2014/main" id="{AAD4ECFF-5935-4F43-ACB5-38AFD07D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592999"/>
            <a:ext cx="54000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290DE-B620-429D-B000-6EA349C19B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160463"/>
            <a:ext cx="5400000" cy="252000"/>
          </a:xfrm>
          <a:solidFill>
            <a:srgbClr val="E0DADB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US" b="0" cap="none" baseline="0" dirty="0">
                <a:solidFill>
                  <a:srgbClr val="000000"/>
                </a:solidFill>
              </a:defRPr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567DF7EA-128D-422D-8EC6-3D2C1A6CAB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83989" y="1160463"/>
            <a:ext cx="5400000" cy="252000"/>
          </a:xfrm>
          <a:solidFill>
            <a:srgbClr val="E0DADB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US" b="0" cap="none" baseline="0" dirty="0">
                <a:solidFill>
                  <a:srgbClr val="000000"/>
                </a:solidFill>
              </a:defRPr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10" name="Inhalt links">
            <a:extLst>
              <a:ext uri="{FF2B5EF4-FFF2-40B4-BE49-F238E27FC236}">
                <a16:creationId xmlns:a16="http://schemas.microsoft.com/office/drawing/2014/main" id="{99523DFA-D5CA-4979-A591-D22D4ACC9A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83989" y="1593000"/>
            <a:ext cx="54000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8BB7898-20F2-B420-E64B-DEF369A56D72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F4C37E8A-EBA0-3BDC-3E05-6C6570B9D0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2" name="Storyline">
            <a:extLst>
              <a:ext uri="{FF2B5EF4-FFF2-40B4-BE49-F238E27FC236}">
                <a16:creationId xmlns:a16="http://schemas.microsoft.com/office/drawing/2014/main" id="{5981DD67-E1A0-D36F-2B67-DA4EAC3A46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2329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59">
          <p15:clr>
            <a:srgbClr val="F26B43"/>
          </p15:clr>
        </p15:guide>
        <p15:guide id="3" pos="402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(60/4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0170163-759F-74D5-A7F5-AB7B3456FF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4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170163-759F-74D5-A7F5-AB7B3456F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Kapitel">
            <a:extLst>
              <a:ext uri="{FF2B5EF4-FFF2-40B4-BE49-F238E27FC236}">
                <a16:creationId xmlns:a16="http://schemas.microsoft.com/office/drawing/2014/main" id="{A1555248-E9BC-43AC-8742-E57D699F2F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5" name="Inhalt links">
            <a:extLst>
              <a:ext uri="{FF2B5EF4-FFF2-40B4-BE49-F238E27FC236}">
                <a16:creationId xmlns:a16="http://schemas.microsoft.com/office/drawing/2014/main" id="{AAD4ECFF-5935-4F43-ACB5-38AFD07D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592999"/>
            <a:ext cx="64800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290DE-B620-429D-B000-6EA349C19B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160463"/>
            <a:ext cx="64800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567DF7EA-128D-422D-8EC6-3D2C1A6CAB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63989" y="1162799"/>
            <a:ext cx="43200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10" name="Inhalt links">
            <a:extLst>
              <a:ext uri="{FF2B5EF4-FFF2-40B4-BE49-F238E27FC236}">
                <a16:creationId xmlns:a16="http://schemas.microsoft.com/office/drawing/2014/main" id="{99523DFA-D5CA-4979-A591-D22D4ACC9A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63989" y="1593001"/>
            <a:ext cx="43200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FDC79DAB-C696-8B63-8B0D-CAE7F24C9600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39D2736-C1AB-2CBC-B166-7C357BED9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16" name="Storyline">
            <a:extLst>
              <a:ext uri="{FF2B5EF4-FFF2-40B4-BE49-F238E27FC236}">
                <a16:creationId xmlns:a16="http://schemas.microsoft.com/office/drawing/2014/main" id="{6D42155C-F2D4-FAB7-D9B3-CB5F27D4F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039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39" userDrawn="1">
          <p15:clr>
            <a:srgbClr val="F26B43"/>
          </p15:clr>
        </p15:guide>
        <p15:guide id="3" pos="4702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(70/3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9FF52CF-D3FE-69AF-5397-43E99A38F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0660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FF52CF-D3FE-69AF-5397-43E99A38F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Kapitel">
            <a:extLst>
              <a:ext uri="{FF2B5EF4-FFF2-40B4-BE49-F238E27FC236}">
                <a16:creationId xmlns:a16="http://schemas.microsoft.com/office/drawing/2014/main" id="{A1555248-E9BC-43AC-8742-E57D699F2F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5" name="Inhalt links">
            <a:extLst>
              <a:ext uri="{FF2B5EF4-FFF2-40B4-BE49-F238E27FC236}">
                <a16:creationId xmlns:a16="http://schemas.microsoft.com/office/drawing/2014/main" id="{AAD4ECFF-5935-4F43-ACB5-38AFD07D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592999"/>
            <a:ext cx="75600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290DE-B620-429D-B000-6EA349C19B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160463"/>
            <a:ext cx="75600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567DF7EA-128D-422D-8EC6-3D2C1A6CAB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43990" y="1162799"/>
            <a:ext cx="32400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10" name="Inhalt links">
            <a:extLst>
              <a:ext uri="{FF2B5EF4-FFF2-40B4-BE49-F238E27FC236}">
                <a16:creationId xmlns:a16="http://schemas.microsoft.com/office/drawing/2014/main" id="{99523DFA-D5CA-4979-A591-D22D4ACC9A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43989" y="1593001"/>
            <a:ext cx="32400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A452243F-B1EF-B1DC-C2C0-17B7FCB9ED1D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52312BD-3148-ABD2-BD54-28679C66F7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16" name="Storyline">
            <a:extLst>
              <a:ext uri="{FF2B5EF4-FFF2-40B4-BE49-F238E27FC236}">
                <a16:creationId xmlns:a16="http://schemas.microsoft.com/office/drawing/2014/main" id="{1AA5F907-7023-9732-C067-5CA4DEC068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8733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019" userDrawn="1">
          <p15:clr>
            <a:srgbClr val="F26B43"/>
          </p15:clr>
        </p15:guide>
        <p15:guide id="3" pos="5382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(80/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9CADFC8-3D02-10F0-E740-989FE95224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121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CADFC8-3D02-10F0-E740-989FE9522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Kapitel">
            <a:extLst>
              <a:ext uri="{FF2B5EF4-FFF2-40B4-BE49-F238E27FC236}">
                <a16:creationId xmlns:a16="http://schemas.microsoft.com/office/drawing/2014/main" id="{A1555248-E9BC-43AC-8742-E57D699F2F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5" name="Inhalt links">
            <a:extLst>
              <a:ext uri="{FF2B5EF4-FFF2-40B4-BE49-F238E27FC236}">
                <a16:creationId xmlns:a16="http://schemas.microsoft.com/office/drawing/2014/main" id="{AAD4ECFF-5935-4F43-ACB5-38AFD07D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592999"/>
            <a:ext cx="86400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290DE-B620-429D-B000-6EA349C19B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160463"/>
            <a:ext cx="86400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567DF7EA-128D-422D-8EC6-3D2C1A6CAB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623989" y="1162799"/>
            <a:ext cx="21600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10" name="Inhalt links">
            <a:extLst>
              <a:ext uri="{FF2B5EF4-FFF2-40B4-BE49-F238E27FC236}">
                <a16:creationId xmlns:a16="http://schemas.microsoft.com/office/drawing/2014/main" id="{99523DFA-D5CA-4979-A591-D22D4ACC9A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23989" y="1593001"/>
            <a:ext cx="21600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F07D0EE2-B941-8690-205F-7911C5F93C10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39E73C3E-5E1C-4CB6-ADA3-499553A44B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16" name="Storyline">
            <a:extLst>
              <a:ext uri="{FF2B5EF4-FFF2-40B4-BE49-F238E27FC236}">
                <a16:creationId xmlns:a16="http://schemas.microsoft.com/office/drawing/2014/main" id="{5A61AD98-B5DF-E445-596E-72368AF212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1009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700" userDrawn="1">
          <p15:clr>
            <a:srgbClr val="F26B43"/>
          </p15:clr>
        </p15:guide>
        <p15:guide id="3" pos="6040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(33/33/3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F60CE22-919C-228C-F090-332F5843CA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311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60CE22-919C-228C-F090-332F5843CA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Kapitel">
            <a:extLst>
              <a:ext uri="{FF2B5EF4-FFF2-40B4-BE49-F238E27FC236}">
                <a16:creationId xmlns:a16="http://schemas.microsoft.com/office/drawing/2014/main" id="{A1555248-E9BC-43AC-8742-E57D699F2F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5" name="Inhalt links">
            <a:extLst>
              <a:ext uri="{FF2B5EF4-FFF2-40B4-BE49-F238E27FC236}">
                <a16:creationId xmlns:a16="http://schemas.microsoft.com/office/drawing/2014/main" id="{AAD4ECFF-5935-4F43-ACB5-38AFD07D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1592999"/>
            <a:ext cx="34092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290DE-B620-429D-B000-6EA349C19B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160463"/>
            <a:ext cx="34092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567DF7EA-128D-422D-8EC6-3D2C1A6CAB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91388" y="1160463"/>
            <a:ext cx="34092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10" name="Inhalt links">
            <a:extLst>
              <a:ext uri="{FF2B5EF4-FFF2-40B4-BE49-F238E27FC236}">
                <a16:creationId xmlns:a16="http://schemas.microsoft.com/office/drawing/2014/main" id="{99523DFA-D5CA-4979-A591-D22D4ACC9A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91388" y="1592999"/>
            <a:ext cx="34092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005489D4-E0B4-4E82-B806-CE583B8D82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4788" y="1160463"/>
            <a:ext cx="34092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12" name="Inhalt links">
            <a:extLst>
              <a:ext uri="{FF2B5EF4-FFF2-40B4-BE49-F238E27FC236}">
                <a16:creationId xmlns:a16="http://schemas.microsoft.com/office/drawing/2014/main" id="{1DB14195-1AC7-4BA0-AEC8-B5852350099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4789" y="1592999"/>
            <a:ext cx="34092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BD97CAC8-6991-84D8-9275-308C9B767224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2B4E7BA-BCDC-CD98-2B09-2252B99A6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18" name="Storyline">
            <a:extLst>
              <a:ext uri="{FF2B5EF4-FFF2-40B4-BE49-F238E27FC236}">
                <a16:creationId xmlns:a16="http://schemas.microsoft.com/office/drawing/2014/main" id="{F3A4401A-BFB6-9C38-E52E-814CDE32B7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09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06" userDrawn="1">
          <p15:clr>
            <a:srgbClr val="F26B43"/>
          </p15:clr>
        </p15:guide>
        <p15:guide id="3" pos="5269" userDrawn="1">
          <p15:clr>
            <a:srgbClr val="F26B43"/>
          </p15:clr>
        </p15:guide>
        <p15:guide id="4" pos="2411" userDrawn="1">
          <p15:clr>
            <a:srgbClr val="F26B43"/>
          </p15:clr>
        </p15:guide>
        <p15:guide id="5" pos="275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ung (10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80541F9-B62F-54EE-0FCB-CB535BDE9E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9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0541F9-B62F-54EE-0FCB-CB535BDE9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Kapitel">
            <a:extLst>
              <a:ext uri="{FF2B5EF4-FFF2-40B4-BE49-F238E27FC236}">
                <a16:creationId xmlns:a16="http://schemas.microsoft.com/office/drawing/2014/main" id="{A1555248-E9BC-43AC-8742-E57D699F2F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5" name="Inhalt links">
            <a:extLst>
              <a:ext uri="{FF2B5EF4-FFF2-40B4-BE49-F238E27FC236}">
                <a16:creationId xmlns:a16="http://schemas.microsoft.com/office/drawing/2014/main" id="{AAD4ECFF-5935-4F43-ACB5-38AFD07D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1520613"/>
            <a:ext cx="11376001" cy="4895850"/>
          </a:xfrm>
        </p:spPr>
        <p:txBody>
          <a:bodyPr vert="horz" lIns="0" tIns="0" rIns="0" bIns="0" rtlCol="0">
            <a:noAutofit/>
          </a:bodyPr>
          <a:lstStyle>
            <a:lvl1pPr marL="216000" indent="-216000">
              <a:buFont typeface="+mj-lt"/>
              <a:buAutoNum type="arabicPeriod"/>
              <a:defRPr lang="de-DE" smtClean="0"/>
            </a:lvl1pPr>
            <a:lvl2pPr marL="432000" indent="-216000">
              <a:buFont typeface="+mj-lt"/>
              <a:buAutoNum type="alphaLcPeriod"/>
              <a:defRPr/>
            </a:lvl2pPr>
            <a:lvl3pPr marL="648000" indent="-216000">
              <a:buFont typeface="+mj-lt"/>
              <a:buAutoNum type="romanLcPeriod"/>
              <a:defRPr/>
            </a:lvl3pPr>
            <a:lvl4pPr marL="864000" indent="-216000">
              <a:defRPr/>
            </a:lvl4pPr>
          </a:lstStyle>
          <a:p>
            <a:pPr lvl="0"/>
            <a:r>
              <a:rPr lang="de-DE"/>
              <a:t>Text</a:t>
            </a:r>
          </a:p>
          <a:p>
            <a:pPr lvl="1"/>
            <a:r>
              <a:rPr lang="de-DE"/>
              <a:t>Text</a:t>
            </a:r>
            <a:endParaRPr lang="de-DE" dirty="0"/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290DE-B620-429D-B000-6EA349C19B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160463"/>
            <a:ext cx="11376001" cy="251795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496E5CAF-9D13-4E9A-6374-59614D07B1A9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3E91768C-71AB-7770-0CFB-9BF0E4B8BD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/>
            </a:lvl1pPr>
          </a:lstStyle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14" name="Storyline">
            <a:extLst>
              <a:ext uri="{FF2B5EF4-FFF2-40B4-BE49-F238E27FC236}">
                <a16:creationId xmlns:a16="http://schemas.microsoft.com/office/drawing/2014/main" id="{7E5C8EA9-8E87-32DA-D269-915DE70A69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6849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59">
          <p15:clr>
            <a:srgbClr val="F26B43"/>
          </p15:clr>
        </p15:guide>
        <p15:guide id="3" pos="402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(70/3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DEB514-9442-7D36-6CD9-1BA681386F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682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DEB514-9442-7D36-6CD9-1BA681386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3">
            <a:extLst>
              <a:ext uri="{FF2B5EF4-FFF2-40B4-BE49-F238E27FC236}">
                <a16:creationId xmlns:a16="http://schemas.microsoft.com/office/drawing/2014/main" id="{1645EE51-B7B3-4E9B-A988-3DAD2427A9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160463"/>
            <a:ext cx="7559676" cy="251795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2E6A67-47B0-45C8-B69C-BC1CB68180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1520613"/>
            <a:ext cx="7559676" cy="4895850"/>
          </a:xfrm>
        </p:spPr>
        <p:txBody>
          <a:bodyPr vert="horz" lIns="0" tIns="0" rIns="0" bIns="0" rtlCol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0D704556-6056-4262-BDD4-87DB51B09C4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543664" y="1"/>
            <a:ext cx="3636604" cy="6840001"/>
          </a:xfrm>
          <a:pattFill prst="pct20">
            <a:fgClr>
              <a:srgbClr val="6E6F6F"/>
            </a:fgClr>
            <a:bgClr>
              <a:schemeClr val="bg1"/>
            </a:bgClr>
          </a:patt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99BE9A3-A7FC-484A-9400-1AA42557C2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246A3077-44E5-C931-8C28-87596216028F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30AC7F26-8AE6-1EA3-419E-10F7AF8C8C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7559676" cy="7386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/>
            </a:lvl1pPr>
          </a:lstStyle>
          <a:p>
            <a:pPr lvl="0"/>
            <a:r>
              <a:rPr lang="de-DE" noProof="0"/>
              <a:t>Here is a strong headline that can also run across two lines</a:t>
            </a:r>
            <a:endParaRPr lang="de-DE" noProof="0" dirty="0"/>
          </a:p>
        </p:txBody>
      </p:sp>
      <p:sp>
        <p:nvSpPr>
          <p:cNvPr id="16" name="Storyline">
            <a:extLst>
              <a:ext uri="{FF2B5EF4-FFF2-40B4-BE49-F238E27FC236}">
                <a16:creationId xmlns:a16="http://schemas.microsoft.com/office/drawing/2014/main" id="{17039DE1-DFDE-63C9-CC7B-1D0B7D4910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4821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19">
          <p15:clr>
            <a:srgbClr val="F26B43"/>
          </p15:clr>
        </p15:guide>
        <p15:guide id="2" pos="5382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mit Bild (30/7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57813-99ED-47D3-A33F-DB49FB985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51984" y="3826701"/>
            <a:ext cx="5689151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200" spc="150">
                <a:solidFill>
                  <a:schemeClr val="accent1"/>
                </a:solidFill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>
              <a:spcBef>
                <a:spcPts val="600"/>
              </a:spcBef>
            </a:pPr>
            <a:r>
              <a:rPr lang="de-DE"/>
              <a:t>Chapter name </a:t>
            </a:r>
            <a:br>
              <a:rPr lang="de-DE"/>
            </a:br>
            <a:r>
              <a:rPr lang="de-DE"/>
              <a:t>with max. two lines</a:t>
            </a:r>
            <a:endParaRPr lang="de-DE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B9E964-5812-45FF-848A-187B28A789D0}"/>
              </a:ext>
            </a:extLst>
          </p:cNvPr>
          <p:cNvCxnSpPr>
            <a:cxnSpLocks/>
          </p:cNvCxnSpPr>
          <p:nvPr userDrawn="1"/>
        </p:nvCxnSpPr>
        <p:spPr>
          <a:xfrm>
            <a:off x="5627948" y="3879311"/>
            <a:ext cx="0" cy="902779"/>
          </a:xfrm>
          <a:prstGeom prst="line">
            <a:avLst/>
          </a:prstGeom>
          <a:ln w="19050" cmpd="sng">
            <a:solidFill>
              <a:srgbClr val="A4939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6CE5B0EE-9F54-4FBD-A01F-1C81733B043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069" y="0"/>
            <a:ext cx="3636000" cy="6858000"/>
          </a:xfrm>
          <a:pattFill prst="pct20">
            <a:fgClr>
              <a:srgbClr val="6E6F6F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0631960-3D08-4317-B454-7BFDE1479E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89512" y="3826701"/>
            <a:ext cx="914400" cy="1008000"/>
          </a:xfrm>
        </p:spPr>
        <p:txBody>
          <a:bodyPr wrap="none" lIns="0" tIns="0" rIns="0" bIns="0" anchor="ctr"/>
          <a:lstStyle>
            <a:lvl1pPr marL="0" indent="0" algn="r">
              <a:buFont typeface="Arial" panose="020B0604020202020204" pitchFamily="34" charset="0"/>
              <a:buNone/>
              <a:defRPr sz="6400">
                <a:solidFill>
                  <a:schemeClr val="accent1"/>
                </a:solidFill>
                <a:latin typeface="+mj-lt"/>
              </a:defRPr>
            </a:lvl1pPr>
            <a:lvl2pPr marL="179387" indent="0">
              <a:buNone/>
              <a:defRPr sz="6400"/>
            </a:lvl2pPr>
            <a:lvl3pPr marL="358775" indent="0">
              <a:buNone/>
              <a:defRPr sz="6400"/>
            </a:lvl3pPr>
            <a:lvl4pPr marL="538162" indent="0">
              <a:buNone/>
              <a:defRPr sz="6400"/>
            </a:lvl4pPr>
            <a:lvl5pPr marL="717550" indent="0">
              <a:buNone/>
              <a:defRPr sz="6400"/>
            </a:lvl5pPr>
          </a:lstStyle>
          <a:p>
            <a:pPr lvl="0"/>
            <a:r>
              <a:rPr lang="de-DE"/>
              <a:t>01</a:t>
            </a:r>
            <a:endParaRPr lang="de-DE" dirty="0"/>
          </a:p>
        </p:txBody>
      </p:sp>
      <p:pic>
        <p:nvPicPr>
          <p:cNvPr id="3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726E29C-0F74-6A4A-51E2-5757D4F27C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69738" y="6561348"/>
            <a:ext cx="950155" cy="25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4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98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57813-99ED-47D3-A33F-DB49FB985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9162" y="3826701"/>
            <a:ext cx="7743321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200" spc="150">
                <a:solidFill>
                  <a:schemeClr val="accent1"/>
                </a:solidFill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>
              <a:spcBef>
                <a:spcPts val="600"/>
              </a:spcBef>
            </a:pPr>
            <a:r>
              <a:rPr lang="de-DE"/>
              <a:t>Chapter name </a:t>
            </a:r>
            <a:br>
              <a:rPr lang="de-DE"/>
            </a:br>
            <a:r>
              <a:rPr lang="de-DE"/>
              <a:t>with max. two lines</a:t>
            </a:r>
            <a:endParaRPr lang="de-DE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B9E964-5812-45FF-848A-187B28A789D0}"/>
              </a:ext>
            </a:extLst>
          </p:cNvPr>
          <p:cNvCxnSpPr>
            <a:cxnSpLocks/>
          </p:cNvCxnSpPr>
          <p:nvPr userDrawn="1"/>
        </p:nvCxnSpPr>
        <p:spPr>
          <a:xfrm>
            <a:off x="2385127" y="3879311"/>
            <a:ext cx="0" cy="902779"/>
          </a:xfrm>
          <a:prstGeom prst="line">
            <a:avLst/>
          </a:prstGeom>
          <a:ln w="19050" cmpd="sng">
            <a:solidFill>
              <a:srgbClr val="A4939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0631960-3D08-4317-B454-7BFDE1479E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46691" y="3826701"/>
            <a:ext cx="914400" cy="1008000"/>
          </a:xfrm>
        </p:spPr>
        <p:txBody>
          <a:bodyPr wrap="none" lIns="0" tIns="0" rIns="0" bIns="0" anchor="ctr"/>
          <a:lstStyle>
            <a:lvl1pPr marL="0" indent="0" algn="r">
              <a:buFont typeface="Arial" panose="020B0604020202020204" pitchFamily="34" charset="0"/>
              <a:buNone/>
              <a:defRPr sz="6400">
                <a:solidFill>
                  <a:schemeClr val="accent1"/>
                </a:solidFill>
                <a:latin typeface="+mj-lt"/>
              </a:defRPr>
            </a:lvl1pPr>
            <a:lvl2pPr marL="179387" indent="0">
              <a:buNone/>
              <a:defRPr sz="6400"/>
            </a:lvl2pPr>
            <a:lvl3pPr marL="358775" indent="0">
              <a:buNone/>
              <a:defRPr sz="6400"/>
            </a:lvl3pPr>
            <a:lvl4pPr marL="538162" indent="0">
              <a:buNone/>
              <a:defRPr sz="6400"/>
            </a:lvl4pPr>
            <a:lvl5pPr marL="717550" indent="0">
              <a:buNone/>
              <a:defRPr sz="6400"/>
            </a:lvl5pPr>
          </a:lstStyle>
          <a:p>
            <a:pPr lvl="0"/>
            <a:r>
              <a:rPr lang="de-DE"/>
              <a:t>01</a:t>
            </a:r>
            <a:endParaRPr lang="de-DE" dirty="0"/>
          </a:p>
        </p:txBody>
      </p:sp>
      <p:pic>
        <p:nvPicPr>
          <p:cNvPr id="3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2F86CC-A542-A04C-13B1-18EDE9F9D7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69738" y="6562444"/>
            <a:ext cx="950155" cy="25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2461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5">
            <a:extLst>
              <a:ext uri="{FF2B5EF4-FFF2-40B4-BE49-F238E27FC236}">
                <a16:creationId xmlns:a16="http://schemas.microsoft.com/office/drawing/2014/main" id="{9DD96400-BEE1-0319-2554-D3500215E822}"/>
              </a:ext>
            </a:extLst>
          </p:cNvPr>
          <p:cNvSpPr>
            <a:spLocks/>
          </p:cNvSpPr>
          <p:nvPr userDrawn="1"/>
        </p:nvSpPr>
        <p:spPr bwMode="auto">
          <a:xfrm flipH="1" flipV="1">
            <a:off x="174000" y="174600"/>
            <a:ext cx="11844000" cy="65088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E75113"/>
              </a:gs>
            </a:gsLst>
            <a:lin ang="10800000" scaled="0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de-DE"/>
          </a:p>
        </p:txBody>
      </p:sp>
      <p:sp>
        <p:nvSpPr>
          <p:cNvPr id="114" name="Titel 1">
            <a:extLst>
              <a:ext uri="{FF2B5EF4-FFF2-40B4-BE49-F238E27FC236}">
                <a16:creationId xmlns:a16="http://schemas.microsoft.com/office/drawing/2014/main" id="{9DA1687B-7475-C1B3-919A-685D068D3C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3120745"/>
            <a:ext cx="11089233" cy="3603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contact</a:t>
            </a:r>
            <a:r>
              <a:rPr lang="de-DE"/>
              <a:t> </a:t>
            </a:r>
            <a:r>
              <a:rPr lang="de-DE" err="1"/>
              <a:t>persons</a:t>
            </a:r>
            <a:endParaRPr lang="de-DE"/>
          </a:p>
        </p:txBody>
      </p:sp>
      <p:pic>
        <p:nvPicPr>
          <p:cNvPr id="2" name="Picture 9">
            <a:extLst>
              <a:ext uri="{FF2B5EF4-FFF2-40B4-BE49-F238E27FC236}">
                <a16:creationId xmlns:a16="http://schemas.microsoft.com/office/drawing/2014/main" id="{ED664696-5F9F-3395-0D55-DF503EDA3F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72937" y="501873"/>
            <a:ext cx="2766409" cy="748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763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asyBackground_Title">
            <a:extLst>
              <a:ext uri="{FF2B5EF4-FFF2-40B4-BE49-F238E27FC236}">
                <a16:creationId xmlns:a16="http://schemas.microsoft.com/office/drawing/2014/main" id="{0C0B6A47-1B2E-E56B-0B5A-D66677171D5C}"/>
              </a:ext>
            </a:extLst>
          </p:cNvPr>
          <p:cNvSpPr/>
          <p:nvPr userDrawn="1"/>
        </p:nvSpPr>
        <p:spPr bwMode="auto">
          <a:xfrm>
            <a:off x="0" y="-22233"/>
            <a:ext cx="12191998" cy="5614472"/>
          </a:xfrm>
          <a:prstGeom prst="rect">
            <a:avLst/>
          </a:prstGeom>
          <a:pattFill prst="ltUpDiag">
            <a:fgClr>
              <a:schemeClr val="bg2"/>
            </a:fgClr>
            <a:bgClr>
              <a:schemeClr val="bg1"/>
            </a:bgClr>
          </a:patt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algn="l" rtl="0" eaLnBrk="0" fontAlgn="auto" hangingPunct="1">
              <a:spcBef>
                <a:spcPts val="800"/>
              </a:spcBef>
              <a:spcAft>
                <a:spcPts val="0"/>
              </a:spcAft>
              <a:buClr>
                <a:schemeClr val="accent3"/>
              </a:buClr>
              <a:buSzPct val="77000"/>
              <a:buFont typeface="Wingdings 3" panose="05040102010807070707" pitchFamily="18" charset="2"/>
              <a:buNone/>
            </a:pPr>
            <a:r>
              <a:rPr lang="de-DE" sz="1400" i="1" noProof="0">
                <a:latin typeface="Arial" panose="020B0604020202020204" pitchFamily="34" charset="0"/>
              </a:rPr>
              <a:t>Bildplatzhalter </a:t>
            </a:r>
            <a:br>
              <a:rPr lang="de-DE" sz="1400" i="1" noProof="0">
                <a:latin typeface="Arial" panose="020B0604020202020204" pitchFamily="34" charset="0"/>
              </a:rPr>
            </a:br>
            <a:r>
              <a:rPr lang="de-DE" sz="1400" i="1" noProof="0">
                <a:latin typeface="Arial" panose="020B0604020202020204" pitchFamily="34" charset="0"/>
              </a:rPr>
              <a:t>Hintergrundbild einfügen über easySlides &gt; Bilder &gt;Hintergrundbild setzen</a:t>
            </a:r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B809BEF1-28A8-4EAD-8653-E8D8B3947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653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B809BEF1-28A8-4EAD-8653-E8D8B3947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A61309-813F-4E22-BBAA-611FDEC074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3200" b="1" i="0" baseline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Stern" descr="A close up of a logo&#10;&#10;Description automatically generated">
            <a:extLst>
              <a:ext uri="{FF2B5EF4-FFF2-40B4-BE49-F238E27FC236}">
                <a16:creationId xmlns:a16="http://schemas.microsoft.com/office/drawing/2014/main" id="{AB857CEB-02C4-8A0B-2A88-78EEF7E640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/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l="27105" t="9200" b="8933"/>
          <a:stretch/>
        </p:blipFill>
        <p:spPr>
          <a:xfrm flipH="1">
            <a:off x="7389484" y="-17474"/>
            <a:ext cx="4802514" cy="5614472"/>
          </a:xfrm>
          <a:prstGeom prst="rect">
            <a:avLst/>
          </a:prstGeom>
        </p:spPr>
      </p:pic>
      <p:sp>
        <p:nvSpPr>
          <p:cNvPr id="22" name="Freeform 21">
            <a:extLst>
              <a:ext uri="{FF2B5EF4-FFF2-40B4-BE49-F238E27FC236}">
                <a16:creationId xmlns:a16="http://schemas.microsoft.com/office/drawing/2014/main" id="{88EF2C85-E37D-594F-90A4-D93158F44B86}"/>
              </a:ext>
            </a:extLst>
          </p:cNvPr>
          <p:cNvSpPr/>
          <p:nvPr userDrawn="1"/>
        </p:nvSpPr>
        <p:spPr bwMode="auto">
          <a:xfrm rot="5400000">
            <a:off x="3559809" y="-1923410"/>
            <a:ext cx="2293143" cy="9407996"/>
          </a:xfrm>
          <a:custGeom>
            <a:avLst/>
            <a:gdLst>
              <a:gd name="connsiteX0" fmla="*/ 0 w 2293143"/>
              <a:gd name="connsiteY0" fmla="*/ 1990404 h 9407996"/>
              <a:gd name="connsiteX1" fmla="*/ 1 w 2293143"/>
              <a:gd name="connsiteY1" fmla="*/ 1990403 h 9407996"/>
              <a:gd name="connsiteX2" fmla="*/ 1 w 2293143"/>
              <a:gd name="connsiteY2" fmla="*/ 1989873 h 9407996"/>
              <a:gd name="connsiteX3" fmla="*/ 306 w 2293143"/>
              <a:gd name="connsiteY3" fmla="*/ 1989873 h 9407996"/>
              <a:gd name="connsiteX4" fmla="*/ 1146571 w 2293143"/>
              <a:gd name="connsiteY4" fmla="*/ 0 h 9407996"/>
              <a:gd name="connsiteX5" fmla="*/ 2292836 w 2293143"/>
              <a:gd name="connsiteY5" fmla="*/ 1989873 h 9407996"/>
              <a:gd name="connsiteX6" fmla="*/ 2293143 w 2293143"/>
              <a:gd name="connsiteY6" fmla="*/ 1989873 h 9407996"/>
              <a:gd name="connsiteX7" fmla="*/ 2293142 w 2293143"/>
              <a:gd name="connsiteY7" fmla="*/ 9407996 h 9407996"/>
              <a:gd name="connsiteX8" fmla="*/ 0 w 2293143"/>
              <a:gd name="connsiteY8" fmla="*/ 9407996 h 9407996"/>
              <a:gd name="connsiteX9" fmla="*/ 1 w 2293143"/>
              <a:gd name="connsiteY9" fmla="*/ 1990404 h 940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93143" h="9407996">
                <a:moveTo>
                  <a:pt x="0" y="1990404"/>
                </a:moveTo>
                <a:lnTo>
                  <a:pt x="1" y="1990403"/>
                </a:lnTo>
                <a:lnTo>
                  <a:pt x="1" y="1989873"/>
                </a:lnTo>
                <a:lnTo>
                  <a:pt x="306" y="1989873"/>
                </a:lnTo>
                <a:lnTo>
                  <a:pt x="1146571" y="0"/>
                </a:lnTo>
                <a:lnTo>
                  <a:pt x="2292836" y="1989873"/>
                </a:lnTo>
                <a:lnTo>
                  <a:pt x="2293143" y="1989873"/>
                </a:lnTo>
                <a:lnTo>
                  <a:pt x="2293142" y="9407996"/>
                </a:lnTo>
                <a:lnTo>
                  <a:pt x="0" y="9407996"/>
                </a:lnTo>
                <a:lnTo>
                  <a:pt x="1" y="1990404"/>
                </a:lnTo>
                <a:close/>
              </a:path>
            </a:pathLst>
          </a:custGeom>
          <a:solidFill>
            <a:srgbClr val="FFFFFF">
              <a:alpha val="64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A2FCAAE-AA93-4F68-BE69-45208C4C56D4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07988" y="2025000"/>
            <a:ext cx="7056001" cy="612000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ts val="3500"/>
              </a:lnSpc>
              <a:defRPr kumimoji="0" lang="en-US" sz="3400" b="1" i="0" u="none" strike="noStrike" kern="1200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noProof="0"/>
              <a:t>Title of the presentation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BD9C87A-8218-4CF1-880F-69C7BF0854AF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07988" y="2601000"/>
            <a:ext cx="7056001" cy="374906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kumimoji="0" lang="en-US" sz="2200" b="0" i="0" u="none" strike="noStrike" kern="1200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pPr lvl="0"/>
            <a:r>
              <a:rPr lang="de-DE" noProof="0"/>
              <a:t>Contact | City | xx. Month 20xx xx.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D1A6765-467D-4A51-AF2A-F303F6876D0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7988" y="3357000"/>
            <a:ext cx="7056001" cy="288000"/>
          </a:xfrm>
        </p:spPr>
        <p:txBody>
          <a:bodyPr wrap="square" lIns="0" tIns="0" rIns="0" bIns="0">
            <a:noAutofit/>
          </a:bodyPr>
          <a:lstStyle>
            <a:lvl1pPr>
              <a:defRPr kumimoji="0" lang="en-GB" sz="1600" b="0" i="0" u="none" strike="noStrike" kern="1200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de-DE" noProof="0"/>
              <a:t>Subtitle of the presentation</a:t>
            </a:r>
          </a:p>
        </p:txBody>
      </p:sp>
      <p:pic>
        <p:nvPicPr>
          <p:cNvPr id="10" name="Picture 10">
            <a:extLst>
              <a:ext uri="{FF2B5EF4-FFF2-40B4-BE49-F238E27FC236}">
                <a16:creationId xmlns:a16="http://schemas.microsoft.com/office/drawing/2014/main" id="{4E8F4EEB-71BA-E6B3-3D1B-C04BD01385F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87692" y="5963138"/>
            <a:ext cx="2088897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990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seite (Kar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Text, weiß, Karte, Visualisierung enthält.&#10;&#10;KI-generierte Inhalte können fehlerhaft sein.">
            <a:extLst>
              <a:ext uri="{FF2B5EF4-FFF2-40B4-BE49-F238E27FC236}">
                <a16:creationId xmlns:a16="http://schemas.microsoft.com/office/drawing/2014/main" id="{99FB7384-74B6-72FB-76E3-2F088149FE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10588"/>
          <a:stretch>
            <a:fillRect/>
          </a:stretch>
        </p:blipFill>
        <p:spPr>
          <a:xfrm>
            <a:off x="-16652" y="6308"/>
            <a:ext cx="10901184" cy="6858000"/>
          </a:xfrm>
          <a:prstGeom prst="rect">
            <a:avLst/>
          </a:prstGeom>
        </p:spPr>
      </p:pic>
      <p:sp>
        <p:nvSpPr>
          <p:cNvPr id="114" name="Titel 1">
            <a:extLst>
              <a:ext uri="{FF2B5EF4-FFF2-40B4-BE49-F238E27FC236}">
                <a16:creationId xmlns:a16="http://schemas.microsoft.com/office/drawing/2014/main" id="{9DA1687B-7475-C1B3-919A-685D068D3C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3116260"/>
            <a:ext cx="11089233" cy="369332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>
                <a:solidFill>
                  <a:srgbClr val="901237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contact</a:t>
            </a:r>
            <a:r>
              <a:rPr lang="de-DE"/>
              <a:t> </a:t>
            </a:r>
            <a:r>
              <a:rPr lang="de-DE" err="1"/>
              <a:t>persons</a:t>
            </a:r>
            <a:endParaRPr lang="de-DE"/>
          </a:p>
        </p:txBody>
      </p:sp>
      <p:pic>
        <p:nvPicPr>
          <p:cNvPr id="2" name="Picture 9">
            <a:extLst>
              <a:ext uri="{FF2B5EF4-FFF2-40B4-BE49-F238E27FC236}">
                <a16:creationId xmlns:a16="http://schemas.microsoft.com/office/drawing/2014/main" id="{69CD931C-809B-830F-04EC-D66E42EA7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72937" y="501873"/>
            <a:ext cx="2766409" cy="748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180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818CC49-B043-4658-A21D-03EB370734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5651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18CC49-B043-4658-A21D-03EB37073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DAC681D-F9DB-7BB1-039F-C1215A71E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5"/>
          </a:xfrm>
        </p:spPr>
        <p:txBody>
          <a:bodyPr vert="horz" lIns="0" tIns="0" rIns="0" bIns="0"/>
          <a:lstStyle>
            <a:lvl1pPr>
              <a:defRPr/>
            </a:lvl1pPr>
          </a:lstStyle>
          <a:p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195727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70F5580-E808-425F-B854-52597DF99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6781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70F5580-E808-425F-B854-52597DF99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4C8FCA9-A490-4EE9-A121-9674CD4CE2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160463"/>
            <a:ext cx="11376001" cy="5256000"/>
          </a:xfrm>
        </p:spPr>
        <p:txBody>
          <a:bodyPr lIns="0" tIns="0" rIns="0" bIns="0"/>
          <a:lstStyle>
            <a:lvl1pPr>
              <a:spcBef>
                <a:spcPts val="400"/>
              </a:spcBef>
              <a:spcAft>
                <a:spcPts val="400"/>
              </a:spcAft>
              <a:defRPr/>
            </a:lvl1pPr>
            <a:lvl2pPr>
              <a:spcBef>
                <a:spcPts val="400"/>
              </a:spcBef>
              <a:spcAft>
                <a:spcPts val="400"/>
              </a:spcAft>
              <a:defRPr/>
            </a:lvl2pPr>
            <a:lvl3pPr>
              <a:spcBef>
                <a:spcPts val="400"/>
              </a:spcBef>
              <a:spcAft>
                <a:spcPts val="400"/>
              </a:spcAft>
              <a:defRPr/>
            </a:lvl3pPr>
            <a:lvl4pPr>
              <a:spcBef>
                <a:spcPts val="400"/>
              </a:spcBef>
              <a:spcAft>
                <a:spcPts val="400"/>
              </a:spcAft>
              <a:defRPr/>
            </a:lvl4pPr>
            <a:lvl5pPr>
              <a:spcBef>
                <a:spcPts val="400"/>
              </a:spcBef>
              <a:spcAft>
                <a:spcPts val="400"/>
              </a:spcAft>
              <a:defRPr/>
            </a:lvl5pPr>
          </a:lstStyle>
          <a:p>
            <a:pPr lvl="0"/>
            <a:r>
              <a:rPr lang="de-DE" noProof="0"/>
              <a:t>Click to edit Master text styles</a:t>
            </a:r>
          </a:p>
          <a:p>
            <a:pPr lvl="1"/>
            <a:r>
              <a:rPr lang="de-DE" noProof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2B7946B6-FB6C-7044-A52A-FCAE71282566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855564A-2FF8-CDED-36AC-07BAE4F1AB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34D5D37-69F3-45B8-A119-999B70E717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313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34D5D37-69F3-45B8-A119-999B70E717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337AD17-03A9-4E84-A549-8CB695D5EAD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5"/>
          </a:xfrm>
        </p:spPr>
        <p:txBody>
          <a:bodyPr vert="horz" lIns="0" tIns="0" rIns="0" b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7" y="1160463"/>
            <a:ext cx="5400001" cy="5256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400"/>
              </a:spcBef>
              <a:spcAft>
                <a:spcPts val="400"/>
              </a:spcAft>
              <a:defRPr lang="en-US" dirty="0" smtClean="0"/>
            </a:lvl1pPr>
            <a:lvl2pPr>
              <a:spcBef>
                <a:spcPts val="400"/>
              </a:spcBef>
              <a:spcAft>
                <a:spcPts val="400"/>
              </a:spcAft>
              <a:defRPr lang="en-US" dirty="0" smtClean="0"/>
            </a:lvl2pPr>
            <a:lvl3pPr>
              <a:spcBef>
                <a:spcPts val="400"/>
              </a:spcBef>
              <a:spcAft>
                <a:spcPts val="400"/>
              </a:spcAft>
              <a:defRPr lang="en-US" dirty="0" smtClean="0"/>
            </a:lvl3pPr>
            <a:lvl4pPr>
              <a:spcBef>
                <a:spcPts val="400"/>
              </a:spcBef>
              <a:spcAft>
                <a:spcPts val="400"/>
              </a:spcAft>
              <a:defRPr lang="en-US" dirty="0" smtClean="0"/>
            </a:lvl4pPr>
            <a:lvl5pPr>
              <a:spcBef>
                <a:spcPts val="400"/>
              </a:spcBef>
              <a:spcAft>
                <a:spcPts val="400"/>
              </a:spcAft>
              <a:defRPr lang="en-US" dirty="0"/>
            </a:lvl5pPr>
          </a:lstStyle>
          <a:p>
            <a:pPr lvl="0"/>
            <a:r>
              <a:rPr lang="de-DE" noProof="0"/>
              <a:t>Click to edit Master text styles</a:t>
            </a:r>
          </a:p>
          <a:p>
            <a:pPr lvl="1"/>
            <a:r>
              <a:rPr lang="de-DE" noProof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3990" y="1160463"/>
            <a:ext cx="5400000" cy="5256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400"/>
              </a:spcBef>
              <a:spcAft>
                <a:spcPts val="400"/>
              </a:spcAft>
              <a:defRPr lang="en-US" smtClean="0"/>
            </a:lvl1pPr>
            <a:lvl2pPr>
              <a:spcBef>
                <a:spcPts val="400"/>
              </a:spcBef>
              <a:spcAft>
                <a:spcPts val="400"/>
              </a:spcAft>
              <a:defRPr lang="en-US" smtClean="0"/>
            </a:lvl2pPr>
            <a:lvl3pPr>
              <a:spcBef>
                <a:spcPts val="400"/>
              </a:spcBef>
              <a:spcAft>
                <a:spcPts val="400"/>
              </a:spcAft>
              <a:defRPr lang="en-US" smtClean="0"/>
            </a:lvl3pPr>
            <a:lvl4pPr>
              <a:spcBef>
                <a:spcPts val="400"/>
              </a:spcBef>
              <a:spcAft>
                <a:spcPts val="400"/>
              </a:spcAft>
              <a:defRPr lang="en-US" smtClean="0"/>
            </a:lvl4pPr>
            <a:lvl5pPr>
              <a:spcBef>
                <a:spcPts val="400"/>
              </a:spcBef>
              <a:spcAft>
                <a:spcPts val="400"/>
              </a:spcAft>
              <a:defRPr lang="en-US" dirty="0"/>
            </a:lvl5pPr>
          </a:lstStyle>
          <a:p>
            <a:pPr lvl="0"/>
            <a:r>
              <a:rPr lang="de-DE" noProof="0"/>
              <a:t>Click to edit Master text styles</a:t>
            </a:r>
          </a:p>
          <a:p>
            <a:pPr lvl="1"/>
            <a:r>
              <a:rPr lang="de-DE" noProof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3E40971E-607D-782C-2CC2-83CC130C6CE2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659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31FA18FE-7D2D-430E-A5E8-1FB8526ED0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049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31FA18FE-7D2D-430E-A5E8-1FB8526ED0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51E42B-D122-4691-9858-D447D489C41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07368" y="2781000"/>
            <a:ext cx="11376000" cy="1476000"/>
          </a:xfrm>
        </p:spPr>
        <p:txBody>
          <a:bodyPr lIns="720000" tIns="144000" rIns="720000" bIns="144000" anchor="ctr" anchorCtr="0">
            <a:noAutofit/>
          </a:bodyPr>
          <a:lstStyle>
            <a:lvl1pPr marL="441580" marR="0" fontAlgn="auto">
              <a:lnSpc>
                <a:spcPct val="100000"/>
              </a:lnSpc>
              <a:spcBef>
                <a:spcPts val="600"/>
              </a:spcBef>
              <a:spcAft>
                <a:spcPts val="3000"/>
              </a:spcAft>
              <a:buClr>
                <a:srgbClr val="B40646"/>
              </a:buClr>
              <a:buSzTx/>
              <a:tabLst/>
              <a:defRPr sz="2000"/>
            </a:lvl1pPr>
            <a:lvl2pPr marL="441580" marR="0" indent="-441580" fontAlgn="auto">
              <a:lnSpc>
                <a:spcPct val="100000"/>
              </a:lnSpc>
              <a:spcBef>
                <a:spcPts val="600"/>
              </a:spcBef>
              <a:spcAft>
                <a:spcPts val="3000"/>
              </a:spcAft>
              <a:buClr>
                <a:srgbClr val="B40646"/>
              </a:buClr>
              <a:buSzPct val="110000"/>
              <a:buFont typeface="Wingdings 3" panose="05040102010807070707" pitchFamily="18" charset="2"/>
              <a:buChar char=""/>
              <a:tabLst/>
              <a:defRPr sz="2000" b="1"/>
            </a:lvl2pPr>
          </a:lstStyle>
          <a:p>
            <a:pPr marL="441580" marR="0" lvl="0" fontAlgn="auto">
              <a:lnSpc>
                <a:spcPct val="100000"/>
              </a:lnSpc>
              <a:spcBef>
                <a:spcPts val="738"/>
              </a:spcBef>
              <a:spcAft>
                <a:spcPts val="3692"/>
              </a:spcAft>
              <a:buClr>
                <a:srgbClr val="B40646"/>
              </a:buClr>
              <a:buSzTx/>
              <a:tabLst/>
            </a:pPr>
            <a:r>
              <a:rPr lang="de-DE" noProof="0"/>
              <a:t>Click to edit Master text styles</a:t>
            </a:r>
          </a:p>
          <a:p>
            <a:pPr marL="441580" marR="0" lvl="1" fontAlgn="auto">
              <a:lnSpc>
                <a:spcPct val="100000"/>
              </a:lnSpc>
              <a:spcBef>
                <a:spcPts val="738"/>
              </a:spcBef>
              <a:spcAft>
                <a:spcPts val="3692"/>
              </a:spcAft>
              <a:buClr>
                <a:srgbClr val="B40646"/>
              </a:buClr>
              <a:buSzTx/>
              <a:tabLst/>
            </a:pPr>
            <a:r>
              <a:rPr lang="de-DE" noProof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pic>
        <p:nvPicPr>
          <p:cNvPr id="7" name="Picture 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8800" y="-4844"/>
            <a:ext cx="198000" cy="1019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D7987F42-6A59-4BFE-6F3C-3A3D9A0151E1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53535D5-CCB0-A0DD-A33C-455A93E0B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pac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5D9DFC05-F4FD-47A1-881C-674656DB9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0279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5D9DFC05-F4FD-47A1-881C-674656DB9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4A92A3-A364-43D9-BBBE-D087CA868EA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en-US" sz="4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2FFCDC-3972-45D0-BF90-A03DB93E93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6000" y="3067223"/>
            <a:ext cx="9396001" cy="615553"/>
          </a:xfrm>
        </p:spPr>
        <p:txBody>
          <a:bodyPr lIns="0" tIns="0" rIns="0" bIns="0">
            <a:spAutoFit/>
          </a:bodyPr>
          <a:lstStyle>
            <a:lvl1pPr algn="ctr"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Title, question or commen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269135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pac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1DE0112-B8F0-46D5-9AE8-510071866C01}"/>
              </a:ext>
            </a:extLst>
          </p:cNvPr>
          <p:cNvSpPr/>
          <p:nvPr/>
        </p:nvSpPr>
        <p:spPr bwMode="auto">
          <a:xfrm>
            <a:off x="0" y="0"/>
            <a:ext cx="12200688" cy="6858000"/>
          </a:xfrm>
          <a:prstGeom prst="rect">
            <a:avLst/>
          </a:prstGeom>
          <a:solidFill>
            <a:srgbClr val="E7511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de-DE" sz="14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2FFCDC-3972-45D0-BF90-A03DB93E93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6000" y="3021057"/>
            <a:ext cx="9396001" cy="707886"/>
          </a:xfrm>
        </p:spPr>
        <p:txBody>
          <a:bodyPr lIns="0" tIns="0" rIns="0" bIns="0"/>
          <a:lstStyle>
            <a:lvl1pPr algn="ctr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le, question or comment</a:t>
            </a:r>
            <a:endParaRPr lang="de-DE" noProof="0" dirty="0"/>
          </a:p>
        </p:txBody>
      </p:sp>
      <p:pic>
        <p:nvPicPr>
          <p:cNvPr id="4" name="Picture 3" descr="A picture containing food&#10;&#10;Description automatically generated">
            <a:extLst>
              <a:ext uri="{FF2B5EF4-FFF2-40B4-BE49-F238E27FC236}">
                <a16:creationId xmlns:a16="http://schemas.microsoft.com/office/drawing/2014/main" id="{74B05ED7-92A1-4AB5-ABE1-8BE023BF77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70800" y="6562800"/>
            <a:ext cx="946513" cy="2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8715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pac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1DE0112-B8F0-46D5-9AE8-510071866C01}"/>
              </a:ext>
            </a:extLst>
          </p:cNvPr>
          <p:cNvSpPr/>
          <p:nvPr/>
        </p:nvSpPr>
        <p:spPr bwMode="auto">
          <a:xfrm>
            <a:off x="0" y="0"/>
            <a:ext cx="12200688" cy="6858000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de-DE" sz="14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2FFCDC-3972-45D0-BF90-A03DB93E93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416000" y="3021057"/>
            <a:ext cx="9396001" cy="707886"/>
          </a:xfrm>
        </p:spPr>
        <p:txBody>
          <a:bodyPr lIns="0" tIns="0" rIns="0" bIns="0"/>
          <a:lstStyle>
            <a:lvl1pPr algn="ctr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le, question or comment</a:t>
            </a:r>
            <a:endParaRPr lang="de-DE" noProof="0" dirty="0"/>
          </a:p>
        </p:txBody>
      </p:sp>
      <p:pic>
        <p:nvPicPr>
          <p:cNvPr id="6" name="Picture 5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E5B1554A-0ED4-47FE-91B2-884D4FF68B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70800" y="6562800"/>
            <a:ext cx="946513" cy="2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8514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of presen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1D9B2D9-D9EE-A0E8-C358-17ED9832B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2329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D9B2D9-D9EE-A0E8-C358-17ED9832B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8BD37BE-273E-4875-AEFE-A884EDC5C44B}"/>
              </a:ext>
            </a:extLst>
          </p:cNvPr>
          <p:cNvSpPr/>
          <p:nvPr/>
        </p:nvSpPr>
        <p:spPr bwMode="auto">
          <a:xfrm flipH="1" flipV="1">
            <a:off x="0" y="-17756"/>
            <a:ext cx="12192000" cy="68580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 rtl="0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de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179E58-50FD-4084-A88B-71DB7B047E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auto">
          <a:xfrm flipH="1" flipV="1">
            <a:off x="174000" y="174600"/>
            <a:ext cx="11844000" cy="65088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E75113"/>
              </a:gs>
            </a:gsLst>
            <a:lin ang="10800000" scaled="0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 rtl="0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de-DE" dirty="0"/>
          </a:p>
        </p:txBody>
      </p:sp>
      <p:pic>
        <p:nvPicPr>
          <p:cNvPr id="2" name="Picture 9">
            <a:extLst>
              <a:ext uri="{FF2B5EF4-FFF2-40B4-BE49-F238E27FC236}">
                <a16:creationId xmlns:a16="http://schemas.microsoft.com/office/drawing/2014/main" id="{7265EB44-62E3-D314-F6E1-CC3CBA52E32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64605" y="5566974"/>
            <a:ext cx="2766409" cy="748517"/>
          </a:xfrm>
          <a:prstGeom prst="rect">
            <a:avLst/>
          </a:prstGeom>
        </p:spPr>
      </p:pic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7661F39D-DFA7-4456-9B57-0D996ABDA2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1265" y="206288"/>
            <a:ext cx="3001023" cy="490965"/>
          </a:xfrm>
          <a:prstGeom prst="rect">
            <a:avLst/>
          </a:prstGeom>
        </p:spPr>
      </p:pic>
      <p:pic>
        <p:nvPicPr>
          <p:cNvPr id="7" name="Picture 1">
            <a:extLst>
              <a:ext uri="{FF2B5EF4-FFF2-40B4-BE49-F238E27FC236}">
                <a16:creationId xmlns:a16="http://schemas.microsoft.com/office/drawing/2014/main" id="{17F996D8-2A3C-837E-4FD5-1C5437E689F2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1357520" y="2571674"/>
            <a:ext cx="9327688" cy="1609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5459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asyBackground_Title">
            <a:extLst>
              <a:ext uri="{FF2B5EF4-FFF2-40B4-BE49-F238E27FC236}">
                <a16:creationId xmlns:a16="http://schemas.microsoft.com/office/drawing/2014/main" id="{DA091D2C-E879-6130-3A0F-A829C667547C}"/>
              </a:ext>
            </a:extLst>
          </p:cNvPr>
          <p:cNvSpPr/>
          <p:nvPr userDrawn="1"/>
        </p:nvSpPr>
        <p:spPr bwMode="auto">
          <a:xfrm>
            <a:off x="0" y="-22233"/>
            <a:ext cx="12191998" cy="5614472"/>
          </a:xfrm>
          <a:prstGeom prst="rect">
            <a:avLst/>
          </a:prstGeom>
          <a:pattFill prst="ltUpDiag">
            <a:fgClr>
              <a:schemeClr val="bg2"/>
            </a:fgClr>
            <a:bgClr>
              <a:schemeClr val="bg1"/>
            </a:bgClr>
          </a:patt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algn="l" rtl="0" eaLnBrk="0" fontAlgn="auto" hangingPunct="1">
              <a:spcBef>
                <a:spcPts val="800"/>
              </a:spcBef>
              <a:spcAft>
                <a:spcPts val="0"/>
              </a:spcAft>
              <a:buClr>
                <a:schemeClr val="accent3"/>
              </a:buClr>
              <a:buSzPct val="77000"/>
              <a:buFont typeface="Wingdings 3" panose="05040102010807070707" pitchFamily="18" charset="2"/>
              <a:buNone/>
            </a:pPr>
            <a:r>
              <a:rPr lang="de-DE" sz="1400" i="1" noProof="0">
                <a:latin typeface="Arial" panose="020B0604020202020204" pitchFamily="34" charset="0"/>
              </a:rPr>
              <a:t>Bildplatzhalter </a:t>
            </a:r>
            <a:br>
              <a:rPr lang="de-DE" sz="1400" i="1" noProof="0">
                <a:latin typeface="Arial" panose="020B0604020202020204" pitchFamily="34" charset="0"/>
              </a:rPr>
            </a:br>
            <a:r>
              <a:rPr lang="de-DE" sz="1400" i="1" noProof="0">
                <a:latin typeface="Arial" panose="020B0604020202020204" pitchFamily="34" charset="0"/>
              </a:rPr>
              <a:t>Hintergrundbild einfügen über easySlides &gt; Bilder &gt;Hintergrundbild setzen</a:t>
            </a:r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B809BEF1-28A8-4EAD-8653-E8D8B3947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111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B809BEF1-28A8-4EAD-8653-E8D8B3947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A61309-813F-4E22-BBAA-611FDEC074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3200" b="1" i="0" baseline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Stern" descr="A close up of a logo&#10;&#10;Description automatically generated">
            <a:extLst>
              <a:ext uri="{FF2B5EF4-FFF2-40B4-BE49-F238E27FC236}">
                <a16:creationId xmlns:a16="http://schemas.microsoft.com/office/drawing/2014/main" id="{AB857CEB-02C4-8A0B-2A88-78EEF7E640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7105" t="9200" b="8933"/>
          <a:stretch/>
        </p:blipFill>
        <p:spPr>
          <a:xfrm flipH="1">
            <a:off x="7389485" y="-17474"/>
            <a:ext cx="4802514" cy="5614472"/>
          </a:xfrm>
          <a:prstGeom prst="rect">
            <a:avLst/>
          </a:prstGeom>
        </p:spPr>
      </p:pic>
      <p:sp>
        <p:nvSpPr>
          <p:cNvPr id="22" name="Freeform 21">
            <a:extLst>
              <a:ext uri="{FF2B5EF4-FFF2-40B4-BE49-F238E27FC236}">
                <a16:creationId xmlns:a16="http://schemas.microsoft.com/office/drawing/2014/main" id="{88EF2C85-E37D-594F-90A4-D93158F44B86}"/>
              </a:ext>
            </a:extLst>
          </p:cNvPr>
          <p:cNvSpPr/>
          <p:nvPr userDrawn="1"/>
        </p:nvSpPr>
        <p:spPr bwMode="auto">
          <a:xfrm rot="5400000">
            <a:off x="3559809" y="-1923410"/>
            <a:ext cx="2293143" cy="9407996"/>
          </a:xfrm>
          <a:custGeom>
            <a:avLst/>
            <a:gdLst>
              <a:gd name="connsiteX0" fmla="*/ 0 w 2293143"/>
              <a:gd name="connsiteY0" fmla="*/ 1990404 h 9407996"/>
              <a:gd name="connsiteX1" fmla="*/ 1 w 2293143"/>
              <a:gd name="connsiteY1" fmla="*/ 1990403 h 9407996"/>
              <a:gd name="connsiteX2" fmla="*/ 1 w 2293143"/>
              <a:gd name="connsiteY2" fmla="*/ 1989873 h 9407996"/>
              <a:gd name="connsiteX3" fmla="*/ 306 w 2293143"/>
              <a:gd name="connsiteY3" fmla="*/ 1989873 h 9407996"/>
              <a:gd name="connsiteX4" fmla="*/ 1146571 w 2293143"/>
              <a:gd name="connsiteY4" fmla="*/ 0 h 9407996"/>
              <a:gd name="connsiteX5" fmla="*/ 2292836 w 2293143"/>
              <a:gd name="connsiteY5" fmla="*/ 1989873 h 9407996"/>
              <a:gd name="connsiteX6" fmla="*/ 2293143 w 2293143"/>
              <a:gd name="connsiteY6" fmla="*/ 1989873 h 9407996"/>
              <a:gd name="connsiteX7" fmla="*/ 2293142 w 2293143"/>
              <a:gd name="connsiteY7" fmla="*/ 9407996 h 9407996"/>
              <a:gd name="connsiteX8" fmla="*/ 0 w 2293143"/>
              <a:gd name="connsiteY8" fmla="*/ 9407996 h 9407996"/>
              <a:gd name="connsiteX9" fmla="*/ 1 w 2293143"/>
              <a:gd name="connsiteY9" fmla="*/ 1990404 h 940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93143" h="9407996">
                <a:moveTo>
                  <a:pt x="0" y="1990404"/>
                </a:moveTo>
                <a:lnTo>
                  <a:pt x="1" y="1990403"/>
                </a:lnTo>
                <a:lnTo>
                  <a:pt x="1" y="1989873"/>
                </a:lnTo>
                <a:lnTo>
                  <a:pt x="306" y="1989873"/>
                </a:lnTo>
                <a:lnTo>
                  <a:pt x="1146571" y="0"/>
                </a:lnTo>
                <a:lnTo>
                  <a:pt x="2292836" y="1989873"/>
                </a:lnTo>
                <a:lnTo>
                  <a:pt x="2293143" y="1989873"/>
                </a:lnTo>
                <a:lnTo>
                  <a:pt x="2293142" y="9407996"/>
                </a:lnTo>
                <a:lnTo>
                  <a:pt x="0" y="9407996"/>
                </a:lnTo>
                <a:lnTo>
                  <a:pt x="1" y="1990404"/>
                </a:lnTo>
                <a:close/>
              </a:path>
            </a:pathLst>
          </a:custGeom>
          <a:solidFill>
            <a:srgbClr val="FFFFFF">
              <a:alpha val="64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indent="-179388" algn="l">
              <a:buClr>
                <a:schemeClr val="accent3"/>
              </a:buClr>
              <a:buSzPct val="77000"/>
              <a:buFont typeface="Wingdings 3" panose="05040102010807070707" pitchFamily="18" charset="2"/>
              <a:buChar char=""/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A2FCAAE-AA93-4F68-BE69-45208C4C56D4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07988" y="2025000"/>
            <a:ext cx="7056001" cy="612000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ts val="3500"/>
              </a:lnSpc>
              <a:defRPr kumimoji="0" lang="en-US" sz="3400" b="1" i="0" u="none" strike="noStrike" kern="1200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noProof="0"/>
              <a:t>Title of the presentation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BD9C87A-8218-4CF1-880F-69C7BF0854AF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07988" y="2601000"/>
            <a:ext cx="7056001" cy="374906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kumimoji="0" lang="en-US" sz="2200" b="0" i="0" u="none" strike="noStrike" kern="1200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pPr lvl="0"/>
            <a:r>
              <a:rPr lang="de-DE" noProof="0"/>
              <a:t>Contact | City | xx. Month 20xx xx.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D1A6765-467D-4A51-AF2A-F303F6876D0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7988" y="3357000"/>
            <a:ext cx="7056001" cy="288000"/>
          </a:xfrm>
        </p:spPr>
        <p:txBody>
          <a:bodyPr wrap="square" lIns="0" tIns="0" rIns="0" bIns="0">
            <a:noAutofit/>
          </a:bodyPr>
          <a:lstStyle>
            <a:lvl1pPr>
              <a:defRPr kumimoji="0" lang="en-GB" sz="1600" b="0" i="0" u="none" strike="noStrike" kern="1200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de-DE" noProof="0"/>
              <a:t>Subtitle of the presentation</a:t>
            </a: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738DEAA1-0DA6-D352-D85A-5BF72BF6AAC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87692" y="5963138"/>
            <a:ext cx="2088897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851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116C6A2-B071-5112-E8F3-31E807106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2193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16C6A2-B071-5112-E8F3-31E807106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Kapitel">
            <a:extLst>
              <a:ext uri="{FF2B5EF4-FFF2-40B4-BE49-F238E27FC236}">
                <a16:creationId xmlns:a16="http://schemas.microsoft.com/office/drawing/2014/main" id="{6862D139-2E21-4EB7-8F10-FAEEF4FCA3F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wrap="none"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tabLst>
                <a:tab pos="985838" algn="l"/>
              </a:tabLst>
              <a:defRPr lang="de-DE" sz="800" cap="all" spc="60" baseline="0" smtClean="0">
                <a:solidFill>
                  <a:srgbClr val="A4A6A6"/>
                </a:solidFill>
                <a:latin typeface="+mn-lt"/>
                <a:cs typeface="+mn-lt" panose="020B0502040204020203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7" name="Storyline">
            <a:extLst>
              <a:ext uri="{FF2B5EF4-FFF2-40B4-BE49-F238E27FC236}">
                <a16:creationId xmlns:a16="http://schemas.microsoft.com/office/drawing/2014/main" id="{0C0C1DB7-ADAC-4188-8659-D53F2E68E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C7CA87EA-4DB9-D729-A808-23C6F86AAE44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F6800EB7-CBDF-CDAD-B4A2-4A21A1F255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040720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(10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4BCCA1A-9148-5A57-52A8-CCDB4B706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6980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BCCA1A-9148-5A57-52A8-CCDB4B7068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Kapitel">
            <a:extLst>
              <a:ext uri="{FF2B5EF4-FFF2-40B4-BE49-F238E27FC236}">
                <a16:creationId xmlns:a16="http://schemas.microsoft.com/office/drawing/2014/main" id="{A1555248-E9BC-43AC-8742-E57D699F2F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5" name="Inhalt links">
            <a:extLst>
              <a:ext uri="{FF2B5EF4-FFF2-40B4-BE49-F238E27FC236}">
                <a16:creationId xmlns:a16="http://schemas.microsoft.com/office/drawing/2014/main" id="{AAD4ECFF-5935-4F43-ACB5-38AFD07D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1592999"/>
            <a:ext cx="11376001" cy="482346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290DE-B620-429D-B000-6EA349C19B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160463"/>
            <a:ext cx="11376001" cy="251795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1800" b="0" cap="none" baseline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1A959D30-1C67-DCCB-DB50-0F442ADF55B8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AB0F5C3-18E1-331A-4417-F86A6F61BF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14" name="Storyline">
            <a:extLst>
              <a:ext uri="{FF2B5EF4-FFF2-40B4-BE49-F238E27FC236}">
                <a16:creationId xmlns:a16="http://schemas.microsoft.com/office/drawing/2014/main" id="{553FE9C1-FA3E-F033-4E19-180BF719DE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1586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59">
          <p15:clr>
            <a:srgbClr val="F26B43"/>
          </p15:clr>
        </p15:guide>
        <p15:guide id="3" pos="402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Konklus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9DE3B8B-BF4B-24E5-BD29-C68A2C7AD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87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DE3B8B-BF4B-24E5-BD29-C68A2C7AD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Kapitel">
            <a:extLst>
              <a:ext uri="{FF2B5EF4-FFF2-40B4-BE49-F238E27FC236}">
                <a16:creationId xmlns:a16="http://schemas.microsoft.com/office/drawing/2014/main" id="{A1555248-E9BC-43AC-8742-E57D699F2F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5" name="Inhalt links">
            <a:extLst>
              <a:ext uri="{FF2B5EF4-FFF2-40B4-BE49-F238E27FC236}">
                <a16:creationId xmlns:a16="http://schemas.microsoft.com/office/drawing/2014/main" id="{AAD4ECFF-5935-4F43-ACB5-38AFD07D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1592999"/>
            <a:ext cx="11376001" cy="4137862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290DE-B620-429D-B000-6EA349C19B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160463"/>
            <a:ext cx="11376001" cy="251795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907F1263-DE15-63DE-4593-F698E52929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3365" y="5848338"/>
            <a:ext cx="11200624" cy="56812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 algn="l">
              <a:buNone/>
              <a:tabLst/>
              <a:defRPr lang="de-DE" sz="1800" smtClean="0">
                <a:solidFill>
                  <a:srgbClr val="901237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 marL="717550" indent="0">
              <a:buNone/>
              <a:defRPr lang="de-DE"/>
            </a:lvl5pPr>
          </a:lstStyle>
          <a:p>
            <a:pPr marL="179388" lvl="0" indent="-179388">
              <a:spcBef>
                <a:spcPts val="0"/>
              </a:spcBef>
            </a:pPr>
            <a:r>
              <a:rPr lang="de-DE"/>
              <a:t>Conclusion – maximum 2 lines Lorem ipsum dolor sit amet, consectetuer adipiscing elit. Maecenas porttitor</a:t>
            </a:r>
          </a:p>
          <a:p>
            <a:pPr marL="179388" lvl="0" indent="-179388">
              <a:spcBef>
                <a:spcPts val="0"/>
              </a:spcBef>
            </a:pPr>
            <a:r>
              <a:rPr lang="de-DE"/>
              <a:t>congue massa. Fusce posuere, magna sed pulvinar ultricies, purus lectus malesuada libero, sit amet</a:t>
            </a:r>
            <a:endParaRPr lang="de-DE" dirty="0"/>
          </a:p>
        </p:txBody>
      </p:sp>
      <p:sp>
        <p:nvSpPr>
          <p:cNvPr id="10" name="Icon zu Konklusio">
            <a:extLst>
              <a:ext uri="{FF2B5EF4-FFF2-40B4-BE49-F238E27FC236}">
                <a16:creationId xmlns:a16="http://schemas.microsoft.com/office/drawing/2014/main" id="{DF334CF3-8C62-7799-664D-8763FF289F9D}"/>
              </a:ext>
            </a:extLst>
          </p:cNvPr>
          <p:cNvSpPr>
            <a:spLocks noChangeAspect="1"/>
          </p:cNvSpPr>
          <p:nvPr userDrawn="1"/>
        </p:nvSpPr>
        <p:spPr>
          <a:xfrm>
            <a:off x="432000" y="5850138"/>
            <a:ext cx="64013" cy="432105"/>
          </a:xfrm>
          <a:custGeom>
            <a:avLst/>
            <a:gdLst>
              <a:gd name="connsiteX0" fmla="*/ 146262 w 495300"/>
              <a:gd name="connsiteY0" fmla="*/ 3333658 h 3343275"/>
              <a:gd name="connsiteX1" fmla="*/ 9298 w 495300"/>
              <a:gd name="connsiteY1" fmla="*/ 3032065 h 3343275"/>
              <a:gd name="connsiteX2" fmla="*/ 153730 w 495300"/>
              <a:gd name="connsiteY2" fmla="*/ 2875725 h 3343275"/>
              <a:gd name="connsiteX3" fmla="*/ 435418 w 495300"/>
              <a:gd name="connsiteY3" fmla="*/ 2933309 h 3343275"/>
              <a:gd name="connsiteX4" fmla="*/ 368985 w 495300"/>
              <a:gd name="connsiteY4" fmla="*/ 3327255 h 3343275"/>
              <a:gd name="connsiteX5" fmla="*/ 146262 w 495300"/>
              <a:gd name="connsiteY5" fmla="*/ 3333658 h 3343275"/>
              <a:gd name="connsiteX6" fmla="*/ 190087 w 495300"/>
              <a:gd name="connsiteY6" fmla="*/ 2403461 h 3343275"/>
              <a:gd name="connsiteX7" fmla="*/ 69099 w 495300"/>
              <a:gd name="connsiteY7" fmla="*/ 713391 h 3343275"/>
              <a:gd name="connsiteX8" fmla="*/ 43210 w 495300"/>
              <a:gd name="connsiteY8" fmla="*/ 332392 h 3343275"/>
              <a:gd name="connsiteX9" fmla="*/ 68761 w 495300"/>
              <a:gd name="connsiteY9" fmla="*/ 112149 h 3343275"/>
              <a:gd name="connsiteX10" fmla="*/ 234372 w 495300"/>
              <a:gd name="connsiteY10" fmla="*/ 649 h 3343275"/>
              <a:gd name="connsiteX11" fmla="*/ 397737 w 495300"/>
              <a:gd name="connsiteY11" fmla="*/ 49381 h 3343275"/>
              <a:gd name="connsiteX12" fmla="*/ 438767 w 495300"/>
              <a:gd name="connsiteY12" fmla="*/ 680054 h 3343275"/>
              <a:gd name="connsiteX13" fmla="*/ 333237 w 495300"/>
              <a:gd name="connsiteY13" fmla="*/ 2042129 h 3343275"/>
              <a:gd name="connsiteX14" fmla="*/ 317604 w 495300"/>
              <a:gd name="connsiteY14" fmla="*/ 2387410 h 3343275"/>
              <a:gd name="connsiteX15" fmla="*/ 312033 w 495300"/>
              <a:gd name="connsiteY15" fmla="*/ 2494566 h 3343275"/>
              <a:gd name="connsiteX16" fmla="*/ 251060 w 495300"/>
              <a:gd name="connsiteY16" fmla="*/ 2494566 h 3343275"/>
              <a:gd name="connsiteX17" fmla="*/ 190087 w 495300"/>
              <a:gd name="connsiteY17" fmla="*/ 2494566 h 3343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95300" h="3343275">
                <a:moveTo>
                  <a:pt x="146262" y="3333658"/>
                </a:moveTo>
                <a:cubicBezTo>
                  <a:pt x="35525" y="3283368"/>
                  <a:pt x="-24225" y="3151798"/>
                  <a:pt x="9298" y="3032065"/>
                </a:cubicBezTo>
                <a:cubicBezTo>
                  <a:pt x="25833" y="2973008"/>
                  <a:pt x="90628" y="2902871"/>
                  <a:pt x="153730" y="2875725"/>
                </a:cubicBezTo>
                <a:cubicBezTo>
                  <a:pt x="245574" y="2836215"/>
                  <a:pt x="364199" y="2860465"/>
                  <a:pt x="435418" y="2933309"/>
                </a:cubicBezTo>
                <a:cubicBezTo>
                  <a:pt x="550237" y="3050748"/>
                  <a:pt x="515959" y="3254015"/>
                  <a:pt x="368985" y="3327255"/>
                </a:cubicBezTo>
                <a:cubicBezTo>
                  <a:pt x="306726" y="3358280"/>
                  <a:pt x="206804" y="3361153"/>
                  <a:pt x="146262" y="3333658"/>
                </a:cubicBezTo>
                <a:close/>
                <a:moveTo>
                  <a:pt x="190087" y="2403461"/>
                </a:moveTo>
                <a:cubicBezTo>
                  <a:pt x="190087" y="2065978"/>
                  <a:pt x="131139" y="1242544"/>
                  <a:pt x="69099" y="713391"/>
                </a:cubicBezTo>
                <a:cubicBezTo>
                  <a:pt x="51724" y="565204"/>
                  <a:pt x="43737" y="447649"/>
                  <a:pt x="43210" y="332392"/>
                </a:cubicBezTo>
                <a:cubicBezTo>
                  <a:pt x="42465" y="168916"/>
                  <a:pt x="42958" y="164672"/>
                  <a:pt x="68761" y="112149"/>
                </a:cubicBezTo>
                <a:cubicBezTo>
                  <a:pt x="105191" y="37999"/>
                  <a:pt x="152967" y="5832"/>
                  <a:pt x="234372" y="649"/>
                </a:cubicBezTo>
                <a:cubicBezTo>
                  <a:pt x="303675" y="-3764"/>
                  <a:pt x="364993" y="14527"/>
                  <a:pt x="397737" y="49381"/>
                </a:cubicBezTo>
                <a:cubicBezTo>
                  <a:pt x="473184" y="129691"/>
                  <a:pt x="481749" y="261342"/>
                  <a:pt x="438767" y="680054"/>
                </a:cubicBezTo>
                <a:cubicBezTo>
                  <a:pt x="385128" y="1202580"/>
                  <a:pt x="349022" y="1668592"/>
                  <a:pt x="333237" y="2042129"/>
                </a:cubicBezTo>
                <a:cubicBezTo>
                  <a:pt x="327703" y="2173098"/>
                  <a:pt x="320668" y="2328474"/>
                  <a:pt x="317604" y="2387410"/>
                </a:cubicBezTo>
                <a:lnTo>
                  <a:pt x="312033" y="2494566"/>
                </a:lnTo>
                <a:lnTo>
                  <a:pt x="251060" y="2494566"/>
                </a:lnTo>
                <a:lnTo>
                  <a:pt x="190087" y="2494566"/>
                </a:lnTo>
                <a:close/>
              </a:path>
            </a:pathLst>
          </a:custGeom>
          <a:solidFill>
            <a:schemeClr val="bg1"/>
          </a:solidFill>
          <a:ln w="12700" cap="rnd">
            <a:solidFill>
              <a:srgbClr val="901237"/>
            </a:solidFill>
            <a:prstDash val="solid"/>
            <a:round/>
          </a:ln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2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AFE2D85-B28F-3D2F-4086-5E3CE8CB3120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5DF5A214-66CB-78CE-9EF1-D64F224AE2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17" name="Storyline">
            <a:extLst>
              <a:ext uri="{FF2B5EF4-FFF2-40B4-BE49-F238E27FC236}">
                <a16:creationId xmlns:a16="http://schemas.microsoft.com/office/drawing/2014/main" id="{BC51ADEB-3584-E2CF-5F97-5C3DDA445E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9067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59">
          <p15:clr>
            <a:srgbClr val="F26B43"/>
          </p15:clr>
        </p15:guide>
        <p15:guide id="3" pos="402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titel mit Chart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4FBA3F1-D4B2-A358-F385-52452348F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9456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FBA3F1-D4B2-A358-F385-52452348F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Kapitel">
            <a:extLst>
              <a:ext uri="{FF2B5EF4-FFF2-40B4-BE49-F238E27FC236}">
                <a16:creationId xmlns:a16="http://schemas.microsoft.com/office/drawing/2014/main" id="{A1555248-E9BC-43AC-8742-E57D699F2F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290DE-B620-429D-B000-6EA349C19B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160463"/>
            <a:ext cx="11376000" cy="251795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3D76A5D5-0850-3B9A-EADE-54F9647BD186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AAD4F2AF-8E7C-09D6-BADB-12FE9C8662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13" name="Storyline">
            <a:extLst>
              <a:ext uri="{FF2B5EF4-FFF2-40B4-BE49-F238E27FC236}">
                <a16:creationId xmlns:a16="http://schemas.microsoft.com/office/drawing/2014/main" id="{AE2554BC-6F1E-E41B-5C05-E5A605BD07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161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59">
          <p15:clr>
            <a:srgbClr val="F26B43"/>
          </p15:clr>
        </p15:guide>
        <p15:guide id="3" pos="402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(100) oh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9E9C8F5-9BE9-295C-D49D-843F57EC72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9240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E9C8F5-9BE9-295C-D49D-843F57EC72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Kapitel">
            <a:extLst>
              <a:ext uri="{FF2B5EF4-FFF2-40B4-BE49-F238E27FC236}">
                <a16:creationId xmlns:a16="http://schemas.microsoft.com/office/drawing/2014/main" id="{A1555248-E9BC-43AC-8742-E57D699F2F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5" name="Inhalt links">
            <a:extLst>
              <a:ext uri="{FF2B5EF4-FFF2-40B4-BE49-F238E27FC236}">
                <a16:creationId xmlns:a16="http://schemas.microsoft.com/office/drawing/2014/main" id="{AAD4ECFF-5935-4F43-ACB5-38AFD07D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160463"/>
            <a:ext cx="11376001" cy="5256000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3175E171-16A4-599C-6642-0D26F26D709F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BF00FA1-6039-253E-8368-565555F5A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13" name="Storyline">
            <a:extLst>
              <a:ext uri="{FF2B5EF4-FFF2-40B4-BE49-F238E27FC236}">
                <a16:creationId xmlns:a16="http://schemas.microsoft.com/office/drawing/2014/main" id="{0B7C23E8-1BC6-C110-83C6-0D5FF92385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9596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59">
          <p15:clr>
            <a:srgbClr val="F26B43"/>
          </p15:clr>
        </p15:guide>
        <p15:guide id="3" pos="402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(50/5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35AF53E-033D-40FB-E8F7-366520B17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3609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5AF53E-033D-40FB-E8F7-366520B17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Kapitel">
            <a:extLst>
              <a:ext uri="{FF2B5EF4-FFF2-40B4-BE49-F238E27FC236}">
                <a16:creationId xmlns:a16="http://schemas.microsoft.com/office/drawing/2014/main" id="{A1555248-E9BC-43AC-8742-E57D699F2F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-279412"/>
            <a:ext cx="11376001" cy="108000"/>
          </a:xfrm>
          <a:noFill/>
        </p:spPr>
        <p:txBody>
          <a:bodyPr vert="horz" wrap="none" lIns="0" tIns="0" rIns="0" bIns="0" rtlCol="0">
            <a:noAutofit/>
          </a:bodyPr>
          <a:lstStyle>
            <a:lvl1pPr>
              <a:defRPr lang="en-US" sz="800" cap="all" spc="60" baseline="0" dirty="0">
                <a:solidFill>
                  <a:srgbClr val="A4A6A6"/>
                </a:solidFill>
                <a:cs typeface="+mn-lt" panose="020B0502040204020203" pitchFamily="34" charset="0"/>
              </a:defRPr>
            </a:lvl1pPr>
          </a:lstStyle>
          <a:p>
            <a:pPr marL="179388" marR="0" lvl="0" indent="-179388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5" name="Inhalt links">
            <a:extLst>
              <a:ext uri="{FF2B5EF4-FFF2-40B4-BE49-F238E27FC236}">
                <a16:creationId xmlns:a16="http://schemas.microsoft.com/office/drawing/2014/main" id="{AAD4ECFF-5935-4F43-ACB5-38AFD07D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592999"/>
            <a:ext cx="54000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290DE-B620-429D-B000-6EA349C19B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160463"/>
            <a:ext cx="54000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567DF7EA-128D-422D-8EC6-3D2C1A6CAB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83989" y="1160463"/>
            <a:ext cx="54000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b="0" cap="none" baseline="0" dirty="0"/>
            </a:lvl1pPr>
          </a:lstStyle>
          <a:p>
            <a:pPr marL="179388" lvl="0" indent="-179388" defTabSz="945947">
              <a:spcBef>
                <a:spcPts val="0"/>
              </a:spcBef>
              <a:buClr>
                <a:schemeClr val="accent2"/>
              </a:buClr>
              <a:buSzPct val="100000"/>
            </a:pPr>
            <a:r>
              <a:rPr lang="de-DE"/>
              <a:t>Edit chart title</a:t>
            </a:r>
            <a:endParaRPr lang="de-DE" dirty="0"/>
          </a:p>
        </p:txBody>
      </p:sp>
      <p:sp>
        <p:nvSpPr>
          <p:cNvPr id="10" name="Inhalt links">
            <a:extLst>
              <a:ext uri="{FF2B5EF4-FFF2-40B4-BE49-F238E27FC236}">
                <a16:creationId xmlns:a16="http://schemas.microsoft.com/office/drawing/2014/main" id="{99523DFA-D5CA-4979-A591-D22D4ACC9A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83989" y="1593000"/>
            <a:ext cx="5400000" cy="4823463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Text</a:t>
            </a:r>
            <a:endParaRPr 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8BB7898-20F2-B420-E64B-DEF369A56D72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F4C37E8A-EBA0-3BDC-3E05-6C6570B9D0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97668"/>
            <a:ext cx="11376001" cy="7386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16" name="Storyline">
            <a:extLst>
              <a:ext uri="{FF2B5EF4-FFF2-40B4-BE49-F238E27FC236}">
                <a16:creationId xmlns:a16="http://schemas.microsoft.com/office/drawing/2014/main" id="{066A0EF1-D18F-B5D9-9D27-D7BCD6E28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-122802"/>
            <a:ext cx="11376001" cy="1080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800" b="0" dirty="0"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179388" lvl="0" indent="-179388">
              <a:lnSpc>
                <a:spcPct val="90000"/>
              </a:lnSpc>
              <a:spcBef>
                <a:spcPct val="0"/>
              </a:spcBef>
            </a:pPr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7472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59">
          <p15:clr>
            <a:srgbClr val="F26B43"/>
          </p15:clr>
        </p15:guide>
        <p15:guide id="3" pos="402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4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169F89F-42CD-420A-BDCF-BD6EDC1592AA}"/>
              </a:ext>
            </a:extLst>
          </p:cNvPr>
          <p:cNvGraphicFramePr>
            <a:graphicFrameLocks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686046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95" imgH="396" progId="TCLayout.ActiveDocument.1">
                  <p:embed/>
                </p:oleObj>
              </mc:Choice>
              <mc:Fallback>
                <p:oleObj name="think-cell Folie" r:id="rId32" imgW="395" imgH="39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169F89F-42CD-420A-BDCF-BD6EDC159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C162D6-BC65-4F75-8D8C-9A94DE3961F7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Clr>
                <a:schemeClr val="accent3"/>
              </a:buClr>
              <a:buSzPct val="77000"/>
              <a:buFontTx/>
              <a:buNone/>
            </a:pPr>
            <a:endParaRPr lang="fr-FR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8" y="197668"/>
            <a:ext cx="11376001" cy="7386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noProof="0"/>
              <a:t>Here is a strong headline </a:t>
            </a:r>
            <a:br>
              <a:rPr lang="de-DE" noProof="0"/>
            </a:br>
            <a:r>
              <a:rPr lang="de-DE" noProof="0"/>
              <a:t>that can also run across two lines</a:t>
            </a:r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160463"/>
            <a:ext cx="11376001" cy="52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Click to edit Master text styles</a:t>
            </a:r>
          </a:p>
          <a:p>
            <a:pPr lvl="1"/>
            <a:r>
              <a:rPr lang="de-DE" noProof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6DE9FB6A-D2FC-98A7-600B-6AF5BBBAE166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1169738" y="6562444"/>
            <a:ext cx="948296" cy="256584"/>
          </a:xfrm>
          <a:prstGeom prst="rect">
            <a:avLst/>
          </a:prstGeom>
        </p:spPr>
      </p:pic>
      <p:sp>
        <p:nvSpPr>
          <p:cNvPr id="6" name="Rectangle 2">
            <a:extLst>
              <a:ext uri="{FF2B5EF4-FFF2-40B4-BE49-F238E27FC236}">
                <a16:creationId xmlns:a16="http://schemas.microsoft.com/office/drawing/2014/main" id="{D3734DA5-A3E9-0DBC-750D-F883FA51D834}"/>
              </a:ext>
            </a:extLst>
          </p:cNvPr>
          <p:cNvSpPr/>
          <p:nvPr userDrawn="1"/>
        </p:nvSpPr>
        <p:spPr bwMode="auto">
          <a:xfrm>
            <a:off x="5895983" y="6624679"/>
            <a:ext cx="400032" cy="140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2D1BC-998E-49D0-B61F-C70D10DA563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C1B5B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0DB3F8B6-6913-BB03-C3CF-111EEEFD9FD8}"/>
              </a:ext>
            </a:extLst>
          </p:cNvPr>
          <p:cNvSpPr/>
          <p:nvPr userDrawn="1"/>
        </p:nvSpPr>
        <p:spPr bwMode="auto">
          <a:xfrm>
            <a:off x="407987" y="6640735"/>
            <a:ext cx="5382615" cy="1080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C1B5B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urzvorstellung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63" r:id="rId2"/>
    <p:sldLayoutId id="214748386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65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6" r:id="rId19"/>
    <p:sldLayoutId id="2147483867" r:id="rId20"/>
    <p:sldLayoutId id="2147483829" r:id="rId21"/>
    <p:sldLayoutId id="2147483812" r:id="rId22"/>
    <p:sldLayoutId id="2147483814" r:id="rId23"/>
    <p:sldLayoutId id="2147483813" r:id="rId24"/>
    <p:sldLayoutId id="2147483818" r:id="rId25"/>
    <p:sldLayoutId id="2147483819" r:id="rId26"/>
    <p:sldLayoutId id="2147483820" r:id="rId27"/>
    <p:sldLayoutId id="2147483822" r:id="rId28"/>
  </p:sldLayoutIdLst>
  <p:txStyles>
    <p:titleStyle>
      <a:lvl1pPr algn="l" defTabSz="1125444" rtl="0" eaLnBrk="1" latinLnBrk="0" hangingPunct="1">
        <a:spcBef>
          <a:spcPct val="0"/>
        </a:spcBef>
        <a:buNone/>
        <a:defRPr sz="2400" b="1" kern="0" cap="none" spc="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1125444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12072" indent="-279145" algn="l" defTabSz="1125444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82000"/>
        <a:buFont typeface="Wingdings 3" panose="05040102010807070707" pitchFamily="18" charset="2"/>
        <a:buChar char="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824144" indent="-279145" algn="l" defTabSz="1125444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95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236216" indent="-279145" algn="l" defTabSz="1125444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77000"/>
        <a:buFont typeface="Wingdings 3" panose="05040102010807070707" pitchFamily="18" charset="2"/>
        <a:buChar char="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648287" indent="-279145" algn="l" defTabSz="1125444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Font typeface="Arial" pitchFamily="34" charset="0"/>
        <a:buChar char="-"/>
        <a:defRPr sz="18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138343" indent="-225089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23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63431" indent="-225089" algn="l" defTabSz="112544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2588520" indent="-225089" algn="l" defTabSz="1125444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2813609" indent="-225089" algn="l" defTabSz="1125444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2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04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5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5.x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6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7.xml"/><Relationship Id="rId4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DAB559-DC0D-149B-56DE-2CAF4EB07CE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1046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4" imgH="405" progId="TCLayout.ActiveDocument.1">
                  <p:embed/>
                </p:oleObj>
              </mc:Choice>
              <mc:Fallback>
                <p:oleObj name="think-cell Folie" r:id="rId5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DAB559-DC0D-149B-56DE-2CAF4EB07C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600AEF0-A30F-1F35-0EA4-83A22B00F6D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rIns="0"/>
          <a:lstStyle/>
          <a:p>
            <a:r>
              <a:rPr lang="de-DE" dirty="0"/>
              <a:t>Kurzvorstellung Mitarbeitend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30D93A8-5569-35C9-DDEE-815C7B6CF5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>
                <a:highlight>
                  <a:srgbClr val="FF0000"/>
                </a:highlight>
              </a:rPr>
              <a:t>Vorname Nachnam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A0C7C8F-4449-D642-0FA6-E94E7A11DE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>
              <a:highlight>
                <a:srgbClr val="FF0000"/>
              </a:highlight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7726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1E895AF-DD40-7F5A-7725-CB30258A3DE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604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03" imgH="503" progId="TCLayout.ActiveDocument.1">
                  <p:embed/>
                </p:oleObj>
              </mc:Choice>
              <mc:Fallback>
                <p:oleObj name="think-cell Folie" r:id="rId4" imgW="503" imgH="50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E895AF-DD40-7F5A-7725-CB30258A3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8CFB1-32E4-C159-C406-C0320297CF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71DF1B-60AA-BFD8-9C59-EEB22B8EDC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8663" y="1629063"/>
            <a:ext cx="3275069" cy="2088000"/>
          </a:xfrm>
          <a:noFill/>
        </p:spPr>
        <p:txBody>
          <a:bodyPr/>
          <a:lstStyle/>
          <a:p>
            <a:pPr lvl="1"/>
            <a:r>
              <a:rPr lang="de-DE" sz="1400" dirty="0"/>
              <a:t>Station 1 (B.Sc.)</a:t>
            </a:r>
          </a:p>
          <a:p>
            <a:pPr lvl="1"/>
            <a:r>
              <a:rPr lang="de-DE" sz="1400" dirty="0"/>
              <a:t>Station 2 (Auslandsjahr)</a:t>
            </a:r>
          </a:p>
          <a:p>
            <a:pPr lvl="1"/>
            <a:r>
              <a:rPr lang="de-DE" sz="1400" dirty="0"/>
              <a:t>Station 3 (</a:t>
            </a:r>
            <a:r>
              <a:rPr lang="de-DE" sz="1400" dirty="0" err="1"/>
              <a:t>M.Sc</a:t>
            </a:r>
            <a:r>
              <a:rPr lang="de-DE" sz="1400" dirty="0"/>
              <a:t>.)</a:t>
            </a:r>
          </a:p>
          <a:p>
            <a:pPr lvl="1"/>
            <a:r>
              <a:rPr lang="de-DE" sz="1400" dirty="0"/>
              <a:t>Etc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B3B8CC-5C91-2FCE-E1CB-489BE9C109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1160463"/>
            <a:ext cx="3275745" cy="324000"/>
          </a:xfrm>
          <a:solidFill>
            <a:schemeClr val="tx2"/>
          </a:solidFill>
        </p:spPr>
        <p:txBody>
          <a:bodyPr lIns="180000"/>
          <a:lstStyle/>
          <a:p>
            <a:r>
              <a:rPr lang="de-DE" b="1" dirty="0">
                <a:solidFill>
                  <a:schemeClr val="bg1"/>
                </a:solidFill>
              </a:rPr>
              <a:t>Akademischer Werdega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E9E5BF2-DBF1-C6B0-6189-0C52F26F81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989" y="1160463"/>
            <a:ext cx="5400000" cy="324000"/>
          </a:xfrm>
          <a:solidFill>
            <a:schemeClr val="tx2"/>
          </a:solidFill>
        </p:spPr>
        <p:txBody>
          <a:bodyPr lIns="180000"/>
          <a:lstStyle/>
          <a:p>
            <a:r>
              <a:rPr lang="de-DE" b="1" dirty="0">
                <a:solidFill>
                  <a:schemeClr val="bg1"/>
                </a:solidFill>
              </a:rPr>
              <a:t>Vorweg über mich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9CC47E9-8357-35CD-2430-557DB120119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85989" y="1629063"/>
            <a:ext cx="5400000" cy="4823463"/>
          </a:xfrm>
        </p:spPr>
        <p:txBody>
          <a:bodyPr/>
          <a:lstStyle/>
          <a:p>
            <a:pPr lvl="1"/>
            <a:r>
              <a:rPr lang="de-DE" sz="1400" dirty="0"/>
              <a:t>Aufgewachsen bin ich in…</a:t>
            </a:r>
          </a:p>
          <a:p>
            <a:pPr lvl="1"/>
            <a:r>
              <a:rPr lang="de-DE" sz="1400" dirty="0"/>
              <a:t>Momentan wohne ich in…</a:t>
            </a:r>
          </a:p>
          <a:p>
            <a:pPr lvl="1"/>
            <a:r>
              <a:rPr lang="de-DE" sz="1400" dirty="0"/>
              <a:t>Nach der Arbeit findest Du mich oft beim…</a:t>
            </a:r>
          </a:p>
          <a:p>
            <a:pPr lvl="1"/>
            <a:r>
              <a:rPr lang="de-DE" sz="1400" dirty="0"/>
              <a:t>Meine Kinder sind…</a:t>
            </a:r>
          </a:p>
          <a:p>
            <a:pPr lvl="1"/>
            <a:r>
              <a:rPr lang="de-DE" sz="1400" dirty="0"/>
              <a:t>In meiner Freizeit mache ich gerne…</a:t>
            </a:r>
          </a:p>
          <a:p>
            <a:pPr lvl="1"/>
            <a:r>
              <a:rPr lang="de-DE" sz="1400" dirty="0"/>
              <a:t>Argon &amp; Co kenne ich durch…</a:t>
            </a:r>
          </a:p>
          <a:p>
            <a:pPr lvl="1"/>
            <a:r>
              <a:rPr lang="de-DE" sz="1400" dirty="0"/>
              <a:t>Ich wohne zusammen mit…</a:t>
            </a:r>
          </a:p>
          <a:p>
            <a:pPr lvl="1"/>
            <a:r>
              <a:rPr lang="de-DE" sz="1400" dirty="0"/>
              <a:t>Als Haustier habe ich ein…</a:t>
            </a:r>
          </a:p>
          <a:p>
            <a:pPr lvl="1"/>
            <a:r>
              <a:rPr lang="de-DE" sz="1400" dirty="0"/>
              <a:t>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0027BC-03EA-2BB0-64CD-466A7F65FE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DE" dirty="0"/>
              <a:t>Hallo, ich heiße </a:t>
            </a:r>
            <a:r>
              <a:rPr lang="de-DE" dirty="0">
                <a:highlight>
                  <a:srgbClr val="FFFF00"/>
                </a:highlight>
              </a:rPr>
              <a:t>XXX</a:t>
            </a:r>
            <a:r>
              <a:rPr lang="de-DE" dirty="0"/>
              <a:t> und bin am </a:t>
            </a:r>
            <a:r>
              <a:rPr lang="de-DE" dirty="0">
                <a:highlight>
                  <a:srgbClr val="FFFF00"/>
                </a:highlight>
              </a:rPr>
              <a:t>XXX</a:t>
            </a:r>
            <a:r>
              <a:rPr lang="de-DE" dirty="0"/>
              <a:t> als </a:t>
            </a:r>
            <a:r>
              <a:rPr lang="de-DE" dirty="0">
                <a:highlight>
                  <a:srgbClr val="FFFF00"/>
                </a:highlight>
              </a:rPr>
              <a:t>XXX</a:t>
            </a:r>
            <a:r>
              <a:rPr lang="de-DE" dirty="0"/>
              <a:t> in </a:t>
            </a:r>
            <a:r>
              <a:rPr lang="de-DE" dirty="0">
                <a:highlight>
                  <a:srgbClr val="FFFF00"/>
                </a:highlight>
              </a:rPr>
              <a:t>XXX</a:t>
            </a:r>
            <a:r>
              <a:rPr lang="de-DE" dirty="0"/>
              <a:t> als Dein/e Kollege/Kollegin gestartet!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A4FF8D-4F4D-8038-7172-3657E56A59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D39FE08-D1F3-67D2-8217-548B404E71B8}"/>
              </a:ext>
            </a:extLst>
          </p:cNvPr>
          <p:cNvSpPr txBox="1">
            <a:spLocks/>
          </p:cNvSpPr>
          <p:nvPr/>
        </p:nvSpPr>
        <p:spPr>
          <a:xfrm>
            <a:off x="405024" y="4330263"/>
            <a:ext cx="5400000" cy="208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12072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82000"/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824144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95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236216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77000"/>
              <a:buFont typeface="Wingdings 3" panose="05040102010807070707" pitchFamily="18" charset="2"/>
              <a:buChar char="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648287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138343" indent="-225089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72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431" indent="-225089" algn="l" defTabSz="1125444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88520" indent="-225089" algn="l" defTabSz="1125444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13609" indent="-225089" algn="l" defTabSz="1125444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fontAlgn="auto"/>
            <a:r>
              <a:rPr lang="de-DE" sz="1400"/>
              <a:t>Station 1 (B.Sc.)</a:t>
            </a:r>
          </a:p>
          <a:p>
            <a:pPr lvl="1" fontAlgn="auto"/>
            <a:r>
              <a:rPr lang="de-DE" sz="1400"/>
              <a:t>Station 2 (Auslandsjahr)</a:t>
            </a:r>
          </a:p>
          <a:p>
            <a:pPr lvl="1" fontAlgn="auto"/>
            <a:r>
              <a:rPr lang="de-DE" sz="1400"/>
              <a:t>Station 3 (M.Sc.)</a:t>
            </a:r>
          </a:p>
          <a:p>
            <a:pPr lvl="1" fontAlgn="auto"/>
            <a:r>
              <a:rPr lang="de-DE" sz="1400"/>
              <a:t>Etc.</a:t>
            </a:r>
            <a:endParaRPr lang="de-DE" sz="1400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3A89A98-43CD-49FA-5552-27190DAECCDE}"/>
              </a:ext>
            </a:extLst>
          </p:cNvPr>
          <p:cNvSpPr txBox="1">
            <a:spLocks/>
          </p:cNvSpPr>
          <p:nvPr/>
        </p:nvSpPr>
        <p:spPr>
          <a:xfrm>
            <a:off x="407987" y="3861663"/>
            <a:ext cx="5400000" cy="324000"/>
          </a:xfrm>
          <a:prstGeom prst="rect">
            <a:avLst/>
          </a:prstGeom>
          <a:solidFill>
            <a:schemeClr val="tx2"/>
          </a:solidFill>
        </p:spPr>
        <p:txBody>
          <a:bodyPr vert="horz" lIns="180000" tIns="0" rIns="0" bIns="0" rtlCol="0" anchor="ctr">
            <a:noAutofit/>
          </a:bodyPr>
          <a:lstStyle>
            <a:lvl1pPr marL="0" indent="0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None/>
              <a:defRPr lang="en-US" sz="18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12072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82000"/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824144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95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236216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77000"/>
              <a:buFont typeface="Wingdings 3" panose="05040102010807070707" pitchFamily="18" charset="2"/>
              <a:buChar char="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648287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138343" indent="-225089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72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431" indent="-225089" algn="l" defTabSz="1125444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88520" indent="-225089" algn="l" defTabSz="1125444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13609" indent="-225089" algn="l" defTabSz="1125444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de-DE" b="1">
                <a:solidFill>
                  <a:schemeClr val="bg1"/>
                </a:solidFill>
              </a:rPr>
              <a:t>Akademischer Werdegang</a:t>
            </a:r>
          </a:p>
        </p:txBody>
      </p:sp>
      <p:pic>
        <p:nvPicPr>
          <p:cNvPr id="17" name="Grafik 15" descr="Bilder">
            <a:extLst>
              <a:ext uri="{FF2B5EF4-FFF2-40B4-BE49-F238E27FC236}">
                <a16:creationId xmlns:a16="http://schemas.microsoft.com/office/drawing/2014/main" id="{85C872F1-A730-97D8-7D91-67061A6324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76146" y="2030146"/>
            <a:ext cx="829309" cy="829309"/>
          </a:xfrm>
          <a:prstGeom prst="rect">
            <a:avLst/>
          </a:prstGeom>
        </p:spPr>
      </p:pic>
      <p:sp>
        <p:nvSpPr>
          <p:cNvPr id="18" name="Rechteck 16">
            <a:extLst>
              <a:ext uri="{FF2B5EF4-FFF2-40B4-BE49-F238E27FC236}">
                <a16:creationId xmlns:a16="http://schemas.microsoft.com/office/drawing/2014/main" id="{6A460FA6-7343-DFEB-E6A6-396E8AD1F442}"/>
              </a:ext>
            </a:extLst>
          </p:cNvPr>
          <p:cNvSpPr/>
          <p:nvPr/>
        </p:nvSpPr>
        <p:spPr bwMode="gray">
          <a:xfrm>
            <a:off x="3976609" y="1160463"/>
            <a:ext cx="1828384" cy="2556600"/>
          </a:xfrm>
          <a:prstGeom prst="rect">
            <a:avLst/>
          </a:prstGeom>
          <a:noFill/>
          <a:ln w="6350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81625" tIns="65300" rIns="81625" bIns="653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63242" indent="-163242">
              <a:spcBef>
                <a:spcPts val="544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de-DE" sz="1088" err="1">
              <a:cs typeface="Calibri Light" panose="020F0302020204030204" pitchFamily="34" charset="0"/>
            </a:endParaRPr>
          </a:p>
        </p:txBody>
      </p:sp>
      <p:sp>
        <p:nvSpPr>
          <p:cNvPr id="19" name="Rechteck 23">
            <a:extLst>
              <a:ext uri="{FF2B5EF4-FFF2-40B4-BE49-F238E27FC236}">
                <a16:creationId xmlns:a16="http://schemas.microsoft.com/office/drawing/2014/main" id="{6608137D-CD08-5544-4765-5C22AE178C4C}"/>
              </a:ext>
            </a:extLst>
          </p:cNvPr>
          <p:cNvSpPr/>
          <p:nvPr/>
        </p:nvSpPr>
        <p:spPr bwMode="gray">
          <a:xfrm>
            <a:off x="405024" y="2996983"/>
            <a:ext cx="3161068" cy="720080"/>
          </a:xfrm>
          <a:prstGeom prst="rect">
            <a:avLst/>
          </a:prstGeom>
          <a:solidFill>
            <a:srgbClr val="FFFF00"/>
          </a:solidFill>
          <a:ln w="6350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2"/>
              </a:buClr>
            </a:pPr>
            <a:r>
              <a:rPr lang="de-DE" sz="1600" dirty="0">
                <a:cs typeface="Calibri Light" panose="020F0302020204030204" pitchFamily="34" charset="0"/>
              </a:rPr>
              <a:t>Anzahl, Form und Inhalt der Fotos sind natürlich frei wählbar.</a:t>
            </a:r>
          </a:p>
        </p:txBody>
      </p:sp>
      <p:sp>
        <p:nvSpPr>
          <p:cNvPr id="20" name="Rechteck 23">
            <a:extLst>
              <a:ext uri="{FF2B5EF4-FFF2-40B4-BE49-F238E27FC236}">
                <a16:creationId xmlns:a16="http://schemas.microsoft.com/office/drawing/2014/main" id="{3E96154D-B0C1-17E1-A73E-317A574F6EEA}"/>
              </a:ext>
            </a:extLst>
          </p:cNvPr>
          <p:cNvSpPr/>
          <p:nvPr/>
        </p:nvSpPr>
        <p:spPr bwMode="gray">
          <a:xfrm>
            <a:off x="2412638" y="5575711"/>
            <a:ext cx="3683350" cy="840896"/>
          </a:xfrm>
          <a:prstGeom prst="rect">
            <a:avLst/>
          </a:prstGeom>
          <a:solidFill>
            <a:srgbClr val="FFFF00"/>
          </a:solidFill>
          <a:ln w="6350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2"/>
              </a:buClr>
            </a:pPr>
            <a:r>
              <a:rPr lang="de-DE" sz="1600" dirty="0">
                <a:cs typeface="Calibri Light" panose="020F0302020204030204" pitchFamily="34" charset="0"/>
              </a:rPr>
              <a:t>Durch den Link können deine neuen </a:t>
            </a:r>
            <a:r>
              <a:rPr lang="de-DE" sz="1600" dirty="0" err="1">
                <a:cs typeface="Calibri Light" panose="020F0302020204030204" pitchFamily="34" charset="0"/>
              </a:rPr>
              <a:t>Kolllegen</a:t>
            </a:r>
            <a:r>
              <a:rPr lang="de-DE" sz="1600" dirty="0">
                <a:cs typeface="Calibri Light" panose="020F0302020204030204" pitchFamily="34" charset="0"/>
              </a:rPr>
              <a:t> und Kolleginnen dich online besser finden.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FC56E274-CEBD-2B9E-B204-6AF5835391A9}"/>
              </a:ext>
            </a:extLst>
          </p:cNvPr>
          <p:cNvSpPr txBox="1">
            <a:spLocks/>
          </p:cNvSpPr>
          <p:nvPr/>
        </p:nvSpPr>
        <p:spPr>
          <a:xfrm>
            <a:off x="407988" y="6201307"/>
            <a:ext cx="11376001" cy="216955"/>
          </a:xfrm>
          <a:prstGeom prst="rect">
            <a:avLst/>
          </a:prstGeom>
        </p:spPr>
        <p:txBody>
          <a:bodyPr/>
          <a:lstStyle>
            <a:lvl1pPr marL="0" indent="0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12072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82000"/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824144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95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236216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77000"/>
              <a:buFont typeface="Wingdings 3" panose="05040102010807070707" pitchFamily="18" charset="2"/>
              <a:buChar char="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648287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138343" indent="-225089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72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431" indent="-225089" algn="l" defTabSz="1125444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88520" indent="-225089" algn="l" defTabSz="1125444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13609" indent="-225089" algn="l" defTabSz="1125444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de-DE" sz="800">
                <a:solidFill>
                  <a:schemeClr val="accent3"/>
                </a:solidFill>
              </a:rPr>
              <a:t>Mein LinkedIn/ Xing/ Twitter/ Instagram…</a:t>
            </a:r>
            <a:endParaRPr lang="de-DE" sz="8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039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37838DB-CD7C-C003-ADDC-C3D714B3724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517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3" imgH="503" progId="TCLayout.ActiveDocument.1">
                  <p:embed/>
                </p:oleObj>
              </mc:Choice>
              <mc:Fallback>
                <p:oleObj name="think-cell Folie" r:id="rId3" imgW="503" imgH="5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7838DB-CD7C-C003-ADDC-C3D714B37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6CAF026-66D0-4770-27D3-912AB68323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508271C-7D48-1EF8-B74E-AB2A922E1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DE" dirty="0"/>
              <a:t>Des Weiteren könnte Euch noch folgendes Interessieren…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779D6E-1E0F-4EC3-35BC-C715ECA444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1A95A86-9707-1CE6-573D-DEBD17972E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1160463"/>
            <a:ext cx="5400000" cy="324000"/>
          </a:xfrm>
          <a:solidFill>
            <a:schemeClr val="tx2"/>
          </a:solidFill>
        </p:spPr>
        <p:txBody>
          <a:bodyPr lIns="180000"/>
          <a:lstStyle/>
          <a:p>
            <a:r>
              <a:rPr lang="de-DE" b="1" dirty="0">
                <a:solidFill>
                  <a:srgbClr val="FFFFFF"/>
                </a:solidFill>
              </a:rPr>
              <a:t>Das bin ich auch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9FC411F-EAA6-F872-0F35-619B596E1AA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989" y="1160463"/>
            <a:ext cx="5400000" cy="324000"/>
          </a:xfrm>
          <a:solidFill>
            <a:schemeClr val="tx2"/>
          </a:solidFill>
        </p:spPr>
        <p:txBody>
          <a:bodyPr lIns="180000"/>
          <a:lstStyle/>
          <a:p>
            <a:r>
              <a:rPr lang="de-DE" b="1" dirty="0">
                <a:solidFill>
                  <a:srgbClr val="FFFFFF"/>
                </a:solidFill>
              </a:rPr>
              <a:t>Argon &amp; Co Fragen</a:t>
            </a:r>
          </a:p>
        </p:txBody>
      </p:sp>
      <p:pic>
        <p:nvPicPr>
          <p:cNvPr id="14" name="Grafik 15" descr="Bilder">
            <a:extLst>
              <a:ext uri="{FF2B5EF4-FFF2-40B4-BE49-F238E27FC236}">
                <a16:creationId xmlns:a16="http://schemas.microsoft.com/office/drawing/2014/main" id="{714762DC-3E19-C203-314F-3245ABE5A0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43472" y="2322151"/>
            <a:ext cx="829309" cy="829309"/>
          </a:xfrm>
          <a:prstGeom prst="rect">
            <a:avLst/>
          </a:prstGeom>
        </p:spPr>
      </p:pic>
      <p:sp>
        <p:nvSpPr>
          <p:cNvPr id="15" name="Rechteck 16">
            <a:extLst>
              <a:ext uri="{FF2B5EF4-FFF2-40B4-BE49-F238E27FC236}">
                <a16:creationId xmlns:a16="http://schemas.microsoft.com/office/drawing/2014/main" id="{6CF96513-1C47-C058-3615-0E0F6F556F78}"/>
              </a:ext>
            </a:extLst>
          </p:cNvPr>
          <p:cNvSpPr/>
          <p:nvPr/>
        </p:nvSpPr>
        <p:spPr bwMode="gray">
          <a:xfrm>
            <a:off x="406011" y="1629062"/>
            <a:ext cx="2628000" cy="2340000"/>
          </a:xfrm>
          <a:prstGeom prst="rect">
            <a:avLst/>
          </a:prstGeom>
          <a:noFill/>
          <a:ln w="6350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81625" tIns="65300" rIns="81625" bIns="653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544"/>
              </a:spcBef>
              <a:buClr>
                <a:schemeClr val="accent2"/>
              </a:buClr>
            </a:pPr>
            <a:r>
              <a:rPr lang="de-DE" sz="1200" dirty="0">
                <a:cs typeface="Calibri Light" panose="020F0302020204030204" pitchFamily="34" charset="0"/>
              </a:rPr>
              <a:t>URLAUBSFOTO</a:t>
            </a:r>
          </a:p>
        </p:txBody>
      </p:sp>
      <p:sp>
        <p:nvSpPr>
          <p:cNvPr id="16" name="Rechteck 22">
            <a:extLst>
              <a:ext uri="{FF2B5EF4-FFF2-40B4-BE49-F238E27FC236}">
                <a16:creationId xmlns:a16="http://schemas.microsoft.com/office/drawing/2014/main" id="{D21D654C-8EB4-AD72-9A68-73498B833833}"/>
              </a:ext>
            </a:extLst>
          </p:cNvPr>
          <p:cNvSpPr/>
          <p:nvPr/>
        </p:nvSpPr>
        <p:spPr bwMode="gray">
          <a:xfrm>
            <a:off x="3178012" y="1629062"/>
            <a:ext cx="2628000" cy="2340000"/>
          </a:xfrm>
          <a:prstGeom prst="rect">
            <a:avLst/>
          </a:prstGeom>
          <a:noFill/>
          <a:ln w="6350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81625" tIns="65300" rIns="81625" bIns="653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544"/>
              </a:spcBef>
              <a:buClr>
                <a:schemeClr val="accent2"/>
              </a:buClr>
            </a:pPr>
            <a:r>
              <a:rPr lang="de-DE" sz="1200" dirty="0">
                <a:cs typeface="Calibri Light" panose="020F0302020204030204" pitchFamily="34" charset="0"/>
              </a:rPr>
              <a:t>FEIERFOTO</a:t>
            </a:r>
          </a:p>
        </p:txBody>
      </p:sp>
      <p:pic>
        <p:nvPicPr>
          <p:cNvPr id="17" name="Grafik 23" descr="Bilder">
            <a:extLst>
              <a:ext uri="{FF2B5EF4-FFF2-40B4-BE49-F238E27FC236}">
                <a16:creationId xmlns:a16="http://schemas.microsoft.com/office/drawing/2014/main" id="{DC5E8300-DC8D-6883-575B-0E3790E341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34333" y="2323418"/>
            <a:ext cx="829309" cy="82930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C46E5ABF-4FF5-C82D-170D-597B03CAA9AF}"/>
              </a:ext>
            </a:extLst>
          </p:cNvPr>
          <p:cNvSpPr/>
          <p:nvPr/>
        </p:nvSpPr>
        <p:spPr bwMode="gray">
          <a:xfrm>
            <a:off x="3178012" y="4078263"/>
            <a:ext cx="2628000" cy="2340000"/>
          </a:xfrm>
          <a:prstGeom prst="rect">
            <a:avLst/>
          </a:prstGeom>
          <a:noFill/>
          <a:ln w="6350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81625" tIns="65300" rIns="81625" bIns="653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544"/>
              </a:spcBef>
              <a:buClr>
                <a:schemeClr val="accent2"/>
              </a:buClr>
            </a:pPr>
            <a:r>
              <a:rPr lang="de-DE" sz="1200">
                <a:cs typeface="Calibri Light" panose="020F0302020204030204" pitchFamily="34" charset="0"/>
              </a:rPr>
              <a:t>HOBBYFOTO</a:t>
            </a:r>
          </a:p>
        </p:txBody>
      </p:sp>
      <p:pic>
        <p:nvPicPr>
          <p:cNvPr id="19" name="Grafik 25" descr="Bilder">
            <a:extLst>
              <a:ext uri="{FF2B5EF4-FFF2-40B4-BE49-F238E27FC236}">
                <a16:creationId xmlns:a16="http://schemas.microsoft.com/office/drawing/2014/main" id="{04638121-6295-125B-F34D-FCB19D73FA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34333" y="4833608"/>
            <a:ext cx="829309" cy="829309"/>
          </a:xfrm>
          <a:prstGeom prst="rect">
            <a:avLst/>
          </a:prstGeom>
        </p:spPr>
      </p:pic>
      <p:sp>
        <p:nvSpPr>
          <p:cNvPr id="20" name="Rechteck 26">
            <a:extLst>
              <a:ext uri="{FF2B5EF4-FFF2-40B4-BE49-F238E27FC236}">
                <a16:creationId xmlns:a16="http://schemas.microsoft.com/office/drawing/2014/main" id="{65085435-E062-4DB9-9E79-3DE2E531CF33}"/>
              </a:ext>
            </a:extLst>
          </p:cNvPr>
          <p:cNvSpPr/>
          <p:nvPr/>
        </p:nvSpPr>
        <p:spPr bwMode="gray">
          <a:xfrm>
            <a:off x="405337" y="4078263"/>
            <a:ext cx="2628000" cy="2340000"/>
          </a:xfrm>
          <a:prstGeom prst="rect">
            <a:avLst/>
          </a:prstGeom>
          <a:noFill/>
          <a:ln w="6350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81625" tIns="65300" rIns="81625" bIns="653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544"/>
              </a:spcBef>
              <a:buClr>
                <a:schemeClr val="accent2"/>
              </a:buClr>
            </a:pPr>
            <a:r>
              <a:rPr lang="de-DE" sz="1200">
                <a:cs typeface="Calibri Light" panose="020F0302020204030204" pitchFamily="34" charset="0"/>
              </a:rPr>
              <a:t>FAMILIENFOTO</a:t>
            </a:r>
          </a:p>
        </p:txBody>
      </p:sp>
      <p:pic>
        <p:nvPicPr>
          <p:cNvPr id="21" name="Grafik 27" descr="Bilder">
            <a:extLst>
              <a:ext uri="{FF2B5EF4-FFF2-40B4-BE49-F238E27FC236}">
                <a16:creationId xmlns:a16="http://schemas.microsoft.com/office/drawing/2014/main" id="{4D1C24ED-5340-8F9E-6BCF-4C686B6336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43472" y="4833608"/>
            <a:ext cx="829309" cy="829309"/>
          </a:xfrm>
          <a:prstGeom prst="rect">
            <a:avLst/>
          </a:prstGeom>
        </p:spPr>
      </p:pic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9E3546B6-8E9F-D064-17C7-D39DA3D5EC94}"/>
              </a:ext>
            </a:extLst>
          </p:cNvPr>
          <p:cNvSpPr txBox="1">
            <a:spLocks/>
          </p:cNvSpPr>
          <p:nvPr/>
        </p:nvSpPr>
        <p:spPr>
          <a:xfrm>
            <a:off x="6385989" y="1629063"/>
            <a:ext cx="5400000" cy="4823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12072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82000"/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824144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95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236216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77000"/>
              <a:buFont typeface="Wingdings 3" panose="05040102010807070707" pitchFamily="18" charset="2"/>
              <a:buChar char="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648287" indent="-279145" algn="l" defTabSz="1125444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138343" indent="-225089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72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431" indent="-225089" algn="l" defTabSz="1125444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88520" indent="-225089" algn="l" defTabSz="1125444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13609" indent="-225089" algn="l" defTabSz="1125444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Was ist Dein Lieblingsfilm?</a:t>
            </a:r>
          </a:p>
          <a:p>
            <a:pPr lvl="2"/>
            <a:r>
              <a:rPr lang="de-DE" sz="1400" dirty="0"/>
              <a:t>Bitte ergänzen…</a:t>
            </a:r>
          </a:p>
          <a:p>
            <a:pPr lvl="1"/>
            <a:r>
              <a:rPr lang="de-DE" sz="1400" dirty="0"/>
              <a:t>Wofür stehst Du sogar nachts auf?</a:t>
            </a:r>
          </a:p>
          <a:p>
            <a:pPr lvl="2"/>
            <a:r>
              <a:rPr lang="de-DE" sz="1400" dirty="0"/>
              <a:t>Bitte ergänzen…</a:t>
            </a:r>
          </a:p>
          <a:p>
            <a:pPr lvl="1"/>
            <a:r>
              <a:rPr lang="de-DE" sz="1400" dirty="0"/>
              <a:t>Was macht für Dich gutes Design aus?</a:t>
            </a:r>
          </a:p>
          <a:p>
            <a:pPr lvl="2"/>
            <a:r>
              <a:rPr lang="de-DE" sz="1400" dirty="0"/>
              <a:t>Bitte ergänzen…</a:t>
            </a:r>
          </a:p>
          <a:p>
            <a:pPr lvl="1"/>
            <a:r>
              <a:rPr lang="de-DE" sz="1400" dirty="0"/>
              <a:t>Was ist Dein Lieblingsgetränk?</a:t>
            </a:r>
          </a:p>
          <a:p>
            <a:pPr lvl="2"/>
            <a:r>
              <a:rPr lang="de-DE" sz="1400" dirty="0"/>
              <a:t>Bitte ergänzen…</a:t>
            </a:r>
          </a:p>
          <a:p>
            <a:pPr lvl="1"/>
            <a:r>
              <a:rPr lang="de-DE" sz="1400" dirty="0"/>
              <a:t>Welches Land möchtest Du unbedingt noch besser kennenlernen?</a:t>
            </a:r>
          </a:p>
          <a:p>
            <a:pPr lvl="2"/>
            <a:r>
              <a:rPr lang="de-DE" sz="1400" dirty="0"/>
              <a:t>Bitte ergänzen…</a:t>
            </a:r>
          </a:p>
          <a:p>
            <a:pPr lvl="1"/>
            <a:r>
              <a:rPr lang="de-DE" sz="1400" dirty="0"/>
              <a:t>Wofür würdest Du den Beraterjob aufgeben?</a:t>
            </a:r>
          </a:p>
          <a:p>
            <a:pPr lvl="2"/>
            <a:r>
              <a:rPr lang="de-DE" sz="1400" dirty="0"/>
              <a:t>Bitte ergänzen…</a:t>
            </a:r>
          </a:p>
          <a:p>
            <a:pPr lvl="1"/>
            <a:r>
              <a:rPr lang="de-DE" sz="1400" dirty="0"/>
              <a:t>Mit welchem Wort kannst Du Deine Arbeit bei Argon &amp; Co beschreiben?</a:t>
            </a:r>
          </a:p>
          <a:p>
            <a:pPr lvl="2"/>
            <a:r>
              <a:rPr lang="de-DE" sz="1400" dirty="0"/>
              <a:t>Bitte ergänzen…</a:t>
            </a:r>
          </a:p>
        </p:txBody>
      </p:sp>
      <p:sp>
        <p:nvSpPr>
          <p:cNvPr id="29" name="Rechteck 23">
            <a:extLst>
              <a:ext uri="{FF2B5EF4-FFF2-40B4-BE49-F238E27FC236}">
                <a16:creationId xmlns:a16="http://schemas.microsoft.com/office/drawing/2014/main" id="{8659916E-3FF7-4CF5-0F1B-9EE02DC142E4}"/>
              </a:ext>
            </a:extLst>
          </p:cNvPr>
          <p:cNvSpPr/>
          <p:nvPr/>
        </p:nvSpPr>
        <p:spPr bwMode="gray">
          <a:xfrm>
            <a:off x="2172781" y="4004327"/>
            <a:ext cx="3161068" cy="720080"/>
          </a:xfrm>
          <a:prstGeom prst="rect">
            <a:avLst/>
          </a:prstGeom>
          <a:solidFill>
            <a:srgbClr val="FFFF00"/>
          </a:solidFill>
          <a:ln w="6350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2"/>
              </a:buClr>
            </a:pPr>
            <a:r>
              <a:rPr lang="de-DE" sz="1600" dirty="0">
                <a:cs typeface="Calibri Light" panose="020F0302020204030204" pitchFamily="34" charset="0"/>
              </a:rPr>
              <a:t>Anzahl, Form und Inhalt der Fotos sind natürlich frei wählbar.</a:t>
            </a:r>
          </a:p>
        </p:txBody>
      </p:sp>
      <p:sp>
        <p:nvSpPr>
          <p:cNvPr id="30" name="Rechteck 23">
            <a:extLst>
              <a:ext uri="{FF2B5EF4-FFF2-40B4-BE49-F238E27FC236}">
                <a16:creationId xmlns:a16="http://schemas.microsoft.com/office/drawing/2014/main" id="{BFA51584-F73E-A182-F20F-07E016C7A8FD}"/>
              </a:ext>
            </a:extLst>
          </p:cNvPr>
          <p:cNvSpPr/>
          <p:nvPr/>
        </p:nvSpPr>
        <p:spPr bwMode="gray">
          <a:xfrm>
            <a:off x="8435617" y="3151460"/>
            <a:ext cx="3348372" cy="936102"/>
          </a:xfrm>
          <a:prstGeom prst="rect">
            <a:avLst/>
          </a:prstGeom>
          <a:solidFill>
            <a:srgbClr val="FFFF00"/>
          </a:solidFill>
          <a:ln w="6350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2"/>
              </a:buClr>
            </a:pPr>
            <a:r>
              <a:rPr lang="de-DE" sz="1600" dirty="0">
                <a:cs typeface="Calibri Light" panose="020F0302020204030204" pitchFamily="34" charset="0"/>
              </a:rPr>
              <a:t>Gerne diese Fragen beantworten, vielleicht findet man dadurch ja Gemeinsamkeiten.</a:t>
            </a:r>
          </a:p>
        </p:txBody>
      </p:sp>
    </p:spTree>
    <p:extLst>
      <p:ext uri="{BB962C8B-B14F-4D97-AF65-F5344CB8AC3E}">
        <p14:creationId xmlns:p14="http://schemas.microsoft.com/office/powerpoint/2010/main" val="805521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954AF35-0CB0-3D7E-DBA9-7E0FE62FD7D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2829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3" imgH="503" progId="TCLayout.ActiveDocument.1">
                  <p:embed/>
                </p:oleObj>
              </mc:Choice>
              <mc:Fallback>
                <p:oleObj name="think-cell Folie" r:id="rId3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54AF35-0CB0-3D7E-DBA9-7E0FE62FD7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23">
            <a:extLst>
              <a:ext uri="{FF2B5EF4-FFF2-40B4-BE49-F238E27FC236}">
                <a16:creationId xmlns:a16="http://schemas.microsoft.com/office/drawing/2014/main" id="{B6630AC2-357B-DD72-2E04-6006AD47AE7E}"/>
              </a:ext>
            </a:extLst>
          </p:cNvPr>
          <p:cNvSpPr/>
          <p:nvPr/>
        </p:nvSpPr>
        <p:spPr bwMode="gray">
          <a:xfrm>
            <a:off x="3215680" y="3897052"/>
            <a:ext cx="4968552" cy="720080"/>
          </a:xfrm>
          <a:prstGeom prst="rect">
            <a:avLst/>
          </a:prstGeom>
          <a:solidFill>
            <a:srgbClr val="FFFF00"/>
          </a:solidFill>
          <a:ln w="6350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2"/>
              </a:buClr>
            </a:pPr>
            <a:r>
              <a:rPr lang="de-DE" sz="1600" dirty="0">
                <a:cs typeface="Calibri Light" panose="020F0302020204030204" pitchFamily="34" charset="0"/>
              </a:rPr>
              <a:t>Vergiss nicht alle Kommentare und Anmerkungen zu löschen. Wenn du fertig bist, schicke diese Unterlage gerne als PDF an HR zurück</a:t>
            </a:r>
          </a:p>
        </p:txBody>
      </p:sp>
    </p:spTree>
    <p:extLst>
      <p:ext uri="{BB962C8B-B14F-4D97-AF65-F5344CB8AC3E}">
        <p14:creationId xmlns:p14="http://schemas.microsoft.com/office/powerpoint/2010/main" val="864613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ASTER" val="ArgonCo (Deutschland)"/>
  <p:tag name="DEFAULTLANGUAGEID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omPtV9TvqmYQRlG8uT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ii3EieB1U6Eq9Jsfkl.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kSS7YKqVUGhhgBwrkT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p4gnE9K3wt.tdKiRE9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YMty1UdeZo..nkxrhOP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TAUTONAVIGATOR" val="n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Z47v6xZdV8dFDbxlXZ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Z47v6xZdV8dFDbxlXZ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Z47v6xZdV8dFDbxlXZw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rgon&amp;Co (Deutschland)">
  <a:themeElements>
    <a:clrScheme name="Advyce Argon">
      <a:dk1>
        <a:srgbClr val="000000"/>
      </a:dk1>
      <a:lt1>
        <a:sysClr val="window" lastClr="FFFFFF"/>
      </a:lt1>
      <a:dk2>
        <a:srgbClr val="B40646"/>
      </a:dk2>
      <a:lt2>
        <a:srgbClr val="D9D9D9"/>
      </a:lt2>
      <a:accent1>
        <a:srgbClr val="B40646"/>
      </a:accent1>
      <a:accent2>
        <a:srgbClr val="87737B"/>
      </a:accent2>
      <a:accent3>
        <a:srgbClr val="C1B5B9"/>
      </a:accent3>
      <a:accent4>
        <a:srgbClr val="C63E1B"/>
      </a:accent4>
      <a:accent5>
        <a:srgbClr val="C2005A"/>
      </a:accent5>
      <a:accent6>
        <a:srgbClr val="901237"/>
      </a:accent6>
      <a:hlink>
        <a:srgbClr val="E75113"/>
      </a:hlink>
      <a:folHlink>
        <a:srgbClr val="9D1057"/>
      </a:folHlink>
    </a:clrScheme>
    <a:fontScheme name="Advyce Arg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 bwMode="auto">
        <a:solidFill>
          <a:schemeClr val="bg2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9388" indent="-179388" algn="l">
          <a:buClr>
            <a:schemeClr val="accent3"/>
          </a:buClr>
          <a:buSzPct val="77000"/>
          <a:buFont typeface="Wingdings 3" panose="05040102010807070707" pitchFamily="18" charset="2"/>
          <a:buChar char=""/>
          <a:defRPr sz="1400" dirty="0" smtClean="0"/>
        </a:defPPr>
      </a:lstStyle>
    </a:spDef>
    <a:lnDef>
      <a:spPr>
        <a:ln w="19050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eme3" id="{940D1F2E-FA97-4774-984D-CE8AC68C5867}" vid="{AC99981B-E1E5-41DB-9168-A011FE80B588}"/>
    </a:ext>
  </a:extLst>
</a:theme>
</file>

<file path=ppt/theme/theme2.xml><?xml version="1.0" encoding="utf-8"?>
<a:theme xmlns:a="http://schemas.openxmlformats.org/drawingml/2006/main" name="Office Theme">
  <a:themeElements>
    <a:clrScheme name="Advyce Argon">
      <a:dk1>
        <a:srgbClr val="000000"/>
      </a:dk1>
      <a:lt1>
        <a:sysClr val="window" lastClr="FFFFFF"/>
      </a:lt1>
      <a:dk2>
        <a:srgbClr val="B40646"/>
      </a:dk2>
      <a:lt2>
        <a:srgbClr val="D9D9D9"/>
      </a:lt2>
      <a:accent1>
        <a:srgbClr val="B40646"/>
      </a:accent1>
      <a:accent2>
        <a:srgbClr val="87737B"/>
      </a:accent2>
      <a:accent3>
        <a:srgbClr val="C1B5B9"/>
      </a:accent3>
      <a:accent4>
        <a:srgbClr val="C63E1B"/>
      </a:accent4>
      <a:accent5>
        <a:srgbClr val="C2005A"/>
      </a:accent5>
      <a:accent6>
        <a:srgbClr val="901237"/>
      </a:accent6>
      <a:hlink>
        <a:srgbClr val="E75113"/>
      </a:hlink>
      <a:folHlink>
        <a:srgbClr val="9D1057"/>
      </a:folHlink>
    </a:clrScheme>
    <a:fontScheme name="Advyce Arg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Advyce Argon">
      <a:dk1>
        <a:srgbClr val="000000"/>
      </a:dk1>
      <a:lt1>
        <a:sysClr val="window" lastClr="FFFFFF"/>
      </a:lt1>
      <a:dk2>
        <a:srgbClr val="B40646"/>
      </a:dk2>
      <a:lt2>
        <a:srgbClr val="D9D9D9"/>
      </a:lt2>
      <a:accent1>
        <a:srgbClr val="B40646"/>
      </a:accent1>
      <a:accent2>
        <a:srgbClr val="87737B"/>
      </a:accent2>
      <a:accent3>
        <a:srgbClr val="C1B5B9"/>
      </a:accent3>
      <a:accent4>
        <a:srgbClr val="C63E1B"/>
      </a:accent4>
      <a:accent5>
        <a:srgbClr val="C2005A"/>
      </a:accent5>
      <a:accent6>
        <a:srgbClr val="901237"/>
      </a:accent6>
      <a:hlink>
        <a:srgbClr val="E75113"/>
      </a:hlink>
      <a:folHlink>
        <a:srgbClr val="9D1057"/>
      </a:folHlink>
    </a:clrScheme>
    <a:fontScheme name="Advyce Arg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1CE942CC1A2E24AABC5B93A09C885F9" ma:contentTypeVersion="27" ma:contentTypeDescription="Ein neues Dokument erstellen." ma:contentTypeScope="" ma:versionID="77a6126e241fa1212e5d70a2295bba50">
  <xsd:schema xmlns:xsd="http://www.w3.org/2001/XMLSchema" xmlns:xs="http://www.w3.org/2001/XMLSchema" xmlns:p="http://schemas.microsoft.com/office/2006/metadata/properties" xmlns:ns2="d5b65616-e4dc-46f4-996e-be057decb1f0" xmlns:ns3="8eb07362-18e0-4b1e-90c3-e8deaca182e2" targetNamespace="http://schemas.microsoft.com/office/2006/metadata/properties" ma:root="true" ma:fieldsID="205dd9a07952004edadcd457ecb1f722" ns2:_="" ns3:_="">
    <xsd:import namespace="d5b65616-e4dc-46f4-996e-be057decb1f0"/>
    <xsd:import namespace="8eb07362-18e0-4b1e-90c3-e8deaca182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Author0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b65616-e4dc-46f4-996e-be057decb1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uthor0" ma:index="8" nillable="true" ma:displayName="Author" ma:internalName="Author0" ma:readOnly="false">
      <xsd:simpleType>
        <xsd:restriction base="dms:Text">
          <xsd:maxLength value="255"/>
        </xsd:restriction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9c43a7bd-a44c-4edf-9888-6ee74c7492b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b07362-18e0-4b1e-90c3-e8deaca182e2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646d6055-22d4-46d9-aec6-8a8d3c37f910}" ma:internalName="TaxCatchAll" ma:showField="CatchAllData" ma:web="8eb07362-18e0-4b1e-90c3-e8deaca182e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5b65616-e4dc-46f4-996e-be057decb1f0">
      <Terms xmlns="http://schemas.microsoft.com/office/infopath/2007/PartnerControls"/>
    </lcf76f155ced4ddcb4097134ff3c332f>
    <TaxCatchAll xmlns="8eb07362-18e0-4b1e-90c3-e8deaca182e2" xsi:nil="true"/>
    <Author0 xmlns="d5b65616-e4dc-46f4-996e-be057decb1f0" xsi:nil="true"/>
  </documentManagement>
</p:properties>
</file>

<file path=customXml/itemProps1.xml><?xml version="1.0" encoding="utf-8"?>
<ds:datastoreItem xmlns:ds="http://schemas.openxmlformats.org/officeDocument/2006/customXml" ds:itemID="{7DA289A0-D305-4E75-B703-350607A8CF27}"/>
</file>

<file path=customXml/itemProps2.xml><?xml version="1.0" encoding="utf-8"?>
<ds:datastoreItem xmlns:ds="http://schemas.openxmlformats.org/officeDocument/2006/customXml" ds:itemID="{6D003CDE-B9A6-4E51-BD86-41A0455FF5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729812-837D-49C5-AA4E-F25AA0837287}">
  <ds:schemaRefs>
    <ds:schemaRef ds:uri="0ab8b2bc-ee5b-498b-bee3-066b9f34038f"/>
    <ds:schemaRef ds:uri="b8d57bed-c20e-4dc5-b733-eb45d2ca5f82"/>
    <ds:schemaRef ds:uri="c6c5e386-0796-4183-96f6-1a70e1a0633a"/>
    <ds:schemaRef ds:uri="c7665926-5e20-4300-a54e-23a298fd8f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3d44215d-7452-42ba-bfd4-94d4f26cfd84}" enabled="0" method="" siteId="{3d44215d-7452-42ba-bfd4-94d4f26cfd8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04</Words>
  <Application>Microsoft Office PowerPoint</Application>
  <PresentationFormat>Breitbild</PresentationFormat>
  <Paragraphs>52</Paragraphs>
  <Slides>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Calibri Light</vt:lpstr>
      <vt:lpstr>Wingdings</vt:lpstr>
      <vt:lpstr>Wingdings 3</vt:lpstr>
      <vt:lpstr>Argon&amp;Co (Deutschland)</vt:lpstr>
      <vt:lpstr>think-cell Folie</vt:lpstr>
      <vt:lpstr>Kurzvorstellung Mitarbeitende</vt:lpstr>
      <vt:lpstr>Hallo, ich heiße XXX und bin am XXX als XXX in XXX als Dein/e Kollege/Kollegin gestartet!</vt:lpstr>
      <vt:lpstr>Des Weiteren könnte Euch noch folgendes Interessieren…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gon&amp;Co (Deutschland)</dc:title>
  <dc:creator>Tassilo Stewanowitsch</dc:creator>
  <cp:lastModifiedBy>Hannah Wicharz</cp:lastModifiedBy>
  <cp:revision>48</cp:revision>
  <dcterms:created xsi:type="dcterms:W3CDTF">2021-03-08T11:19:26Z</dcterms:created>
  <dcterms:modified xsi:type="dcterms:W3CDTF">2026-02-11T12:2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CE942CC1A2E24AABC5B93A09C885F9</vt:lpwstr>
  </property>
  <property fmtid="{D5CDD505-2E9C-101B-9397-08002B2CF9AE}" pid="3" name="MediaServiceImageTags">
    <vt:lpwstr/>
  </property>
</Properties>
</file>